
<file path=[Content_Types].xml><?xml version="1.0" encoding="utf-8"?>
<Types xmlns="http://schemas.openxmlformats.org/package/2006/content-types">
  <Default Extension="bin" ContentType="application/vnd.openxmlformats-officedocument.oleObject"/>
  <Default Extension="fntdata" ContentType="application/x-fontdata"/>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751" r:id="rId4"/>
  </p:sldMasterIdLst>
  <p:notesMasterIdLst>
    <p:notesMasterId r:id="rId12"/>
  </p:notesMasterIdLst>
  <p:handoutMasterIdLst>
    <p:handoutMasterId r:id="rId13"/>
  </p:handoutMasterIdLst>
  <p:sldIdLst>
    <p:sldId id="258" r:id="rId5"/>
    <p:sldId id="765" r:id="rId6"/>
    <p:sldId id="279" r:id="rId7"/>
    <p:sldId id="1921" r:id="rId8"/>
    <p:sldId id="1876" r:id="rId9"/>
    <p:sldId id="1868" r:id="rId10"/>
    <p:sldId id="1869" r:id="rId11"/>
  </p:sldIdLst>
  <p:sldSz cx="9906000" cy="6858000" type="A4"/>
  <p:notesSz cx="6794500" cy="9931400"/>
  <p:embeddedFontLst>
    <p:embeddedFont>
      <p:font typeface="Calibri" panose="020F0502020204030204" pitchFamily="34" charset="0"/>
      <p:regular r:id="rId14"/>
      <p:bold r:id="rId15"/>
      <p:italic r:id="rId16"/>
      <p:boldItalic r:id="rId17"/>
    </p:embeddedFont>
    <p:embeddedFont>
      <p:font typeface="Poppins" panose="00000500000000000000" pitchFamily="2" charset="0"/>
      <p:regular r:id="rId18"/>
      <p:bold r:id="rId19"/>
      <p:italic r:id="rId20"/>
      <p:boldItalic r:id="rId21"/>
    </p:embeddedFont>
    <p:embeddedFont>
      <p:font typeface="Poppins Black" panose="00000A00000000000000" pitchFamily="2" charset="0"/>
      <p:bold r:id="rId22"/>
      <p:italic r:id="rId23"/>
      <p:boldItalic r:id="rId24"/>
    </p:embeddedFont>
    <p:embeddedFont>
      <p:font typeface="Poppins Medium" panose="00000600000000000000" pitchFamily="2" charset="0"/>
      <p:regular r:id="rId25"/>
      <p:italic r:id="rId26"/>
    </p:embeddedFont>
  </p:embeddedFontLst>
  <p:custDataLst>
    <p:tags r:id="rId27"/>
  </p:custDataLst>
  <p:defaultTextStyle>
    <a:defPPr>
      <a:defRPr lang="en-US"/>
    </a:defPPr>
    <a:lvl1pPr algn="ctr" rtl="0" eaLnBrk="0" fontAlgn="base" hangingPunct="0">
      <a:spcBef>
        <a:spcPct val="50000"/>
      </a:spcBef>
      <a:spcAft>
        <a:spcPct val="0"/>
      </a:spcAft>
      <a:defRPr sz="1200" kern="1200">
        <a:solidFill>
          <a:schemeClr val="tx1"/>
        </a:solidFill>
        <a:latin typeface="Arial" charset="0"/>
        <a:ea typeface="+mn-ea"/>
        <a:cs typeface="+mn-cs"/>
      </a:defRPr>
    </a:lvl1pPr>
    <a:lvl2pPr marL="457200" algn="ctr" rtl="0" eaLnBrk="0" fontAlgn="base" hangingPunct="0">
      <a:spcBef>
        <a:spcPct val="50000"/>
      </a:spcBef>
      <a:spcAft>
        <a:spcPct val="0"/>
      </a:spcAft>
      <a:defRPr sz="1200" kern="1200">
        <a:solidFill>
          <a:schemeClr val="tx1"/>
        </a:solidFill>
        <a:latin typeface="Arial" charset="0"/>
        <a:ea typeface="+mn-ea"/>
        <a:cs typeface="+mn-cs"/>
      </a:defRPr>
    </a:lvl2pPr>
    <a:lvl3pPr marL="914400" algn="ctr" rtl="0" eaLnBrk="0" fontAlgn="base" hangingPunct="0">
      <a:spcBef>
        <a:spcPct val="50000"/>
      </a:spcBef>
      <a:spcAft>
        <a:spcPct val="0"/>
      </a:spcAft>
      <a:defRPr sz="1200" kern="1200">
        <a:solidFill>
          <a:schemeClr val="tx1"/>
        </a:solidFill>
        <a:latin typeface="Arial" charset="0"/>
        <a:ea typeface="+mn-ea"/>
        <a:cs typeface="+mn-cs"/>
      </a:defRPr>
    </a:lvl3pPr>
    <a:lvl4pPr marL="1371600" algn="ctr" rtl="0" eaLnBrk="0" fontAlgn="base" hangingPunct="0">
      <a:spcBef>
        <a:spcPct val="50000"/>
      </a:spcBef>
      <a:spcAft>
        <a:spcPct val="0"/>
      </a:spcAft>
      <a:defRPr sz="1200" kern="1200">
        <a:solidFill>
          <a:schemeClr val="tx1"/>
        </a:solidFill>
        <a:latin typeface="Arial" charset="0"/>
        <a:ea typeface="+mn-ea"/>
        <a:cs typeface="+mn-cs"/>
      </a:defRPr>
    </a:lvl4pPr>
    <a:lvl5pPr marL="1828800" algn="ctr" rtl="0" eaLnBrk="0" fontAlgn="base" hangingPunct="0">
      <a:spcBef>
        <a:spcPct val="5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ne johansen" initials="rj" lastIdx="1" clrIdx="0">
    <p:extLst>
      <p:ext uri="{19B8F6BF-5375-455C-9EA6-DF929625EA0E}">
        <p15:presenceInfo xmlns:p15="http://schemas.microsoft.com/office/powerpoint/2012/main" userId="a5ca7d38af8eb9e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AADB"/>
    <a:srgbClr val="0079AE"/>
    <a:srgbClr val="03556D"/>
    <a:srgbClr val="003F62"/>
    <a:srgbClr val="05405E"/>
    <a:srgbClr val="063C57"/>
    <a:srgbClr val="F2F2F2"/>
    <a:srgbClr val="107AAB"/>
    <a:srgbClr val="8996A0"/>
    <a:srgbClr val="1EAB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627" autoAdjust="0"/>
    <p:restoredTop sz="95673" autoAdjust="0"/>
  </p:normalViewPr>
  <p:slideViewPr>
    <p:cSldViewPr snapToGrid="0">
      <p:cViewPr>
        <p:scale>
          <a:sx n="95" d="100"/>
          <a:sy n="95" d="100"/>
        </p:scale>
        <p:origin x="331" y="53"/>
      </p:cViewPr>
      <p:guideLst/>
    </p:cSldViewPr>
  </p:slideViewPr>
  <p:notesTextViewPr>
    <p:cViewPr>
      <p:scale>
        <a:sx n="100" d="100"/>
        <a:sy n="100" d="100"/>
      </p:scale>
      <p:origin x="0" y="0"/>
    </p:cViewPr>
  </p:notesTextViewPr>
  <p:sorterViewPr>
    <p:cViewPr varScale="1">
      <p:scale>
        <a:sx n="1" d="1"/>
        <a:sy n="1" d="1"/>
      </p:scale>
      <p:origin x="0" y="-2346"/>
    </p:cViewPr>
  </p:sorterViewPr>
  <p:notesViewPr>
    <p:cSldViewPr snapToGrid="0">
      <p:cViewPr varScale="1">
        <p:scale>
          <a:sx n="63" d="100"/>
          <a:sy n="63" d="100"/>
        </p:scale>
        <p:origin x="341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font" Target="fonts/font13.fntdata"/><Relationship Id="rId3" Type="http://schemas.openxmlformats.org/officeDocument/2006/relationships/customXml" Target="../customXml/item3.xml"/><Relationship Id="rId21" Type="http://schemas.openxmlformats.org/officeDocument/2006/relationships/font" Target="fonts/font8.fntdata"/><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1.fntdata"/><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font" Target="fonts/font6.fntdata"/><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tags" Target="tags/tag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0274" name="Rectangle 2"/>
          <p:cNvSpPr>
            <a:spLocks noGrp="1" noChangeArrowheads="1"/>
          </p:cNvSpPr>
          <p:nvPr>
            <p:ph type="hdr" sz="quarter"/>
          </p:nvPr>
        </p:nvSpPr>
        <p:spPr bwMode="auto">
          <a:xfrm>
            <a:off x="1" y="0"/>
            <a:ext cx="182683" cy="278202"/>
          </a:xfrm>
          <a:prstGeom prst="rect">
            <a:avLst/>
          </a:prstGeom>
          <a:noFill/>
          <a:ln w="12700">
            <a:noFill/>
            <a:miter lim="800000"/>
            <a:headEnd/>
            <a:tailEnd/>
          </a:ln>
          <a:effectLst/>
        </p:spPr>
        <p:txBody>
          <a:bodyPr vert="horz" wrap="none" lIns="90668" tIns="47148" rIns="90668" bIns="47148" numCol="1" anchor="t" anchorCtr="0" compatLnSpc="1">
            <a:prstTxWarp prst="textNoShape">
              <a:avLst/>
            </a:prstTxWarp>
            <a:spAutoFit/>
          </a:bodyPr>
          <a:lstStyle>
            <a:lvl1pPr algn="l" defTabSz="920615">
              <a:spcBef>
                <a:spcPct val="0"/>
              </a:spcBef>
              <a:defRPr b="1"/>
            </a:lvl1pPr>
          </a:lstStyle>
          <a:p>
            <a:endParaRPr lang="da-DK" dirty="0"/>
          </a:p>
        </p:txBody>
      </p:sp>
      <p:sp>
        <p:nvSpPr>
          <p:cNvPr id="310275" name="Rectangle 3"/>
          <p:cNvSpPr>
            <a:spLocks noGrp="1" noChangeArrowheads="1"/>
          </p:cNvSpPr>
          <p:nvPr>
            <p:ph type="dt" sz="quarter" idx="1"/>
          </p:nvPr>
        </p:nvSpPr>
        <p:spPr bwMode="auto">
          <a:xfrm>
            <a:off x="6597663" y="0"/>
            <a:ext cx="182683" cy="278202"/>
          </a:xfrm>
          <a:prstGeom prst="rect">
            <a:avLst/>
          </a:prstGeom>
          <a:noFill/>
          <a:ln w="12700">
            <a:noFill/>
            <a:miter lim="800000"/>
            <a:headEnd/>
            <a:tailEnd/>
          </a:ln>
          <a:effectLst/>
        </p:spPr>
        <p:txBody>
          <a:bodyPr vert="horz" wrap="none" lIns="90668" tIns="47148" rIns="90668" bIns="47148" numCol="1" anchor="t" anchorCtr="0" compatLnSpc="1">
            <a:prstTxWarp prst="textNoShape">
              <a:avLst/>
            </a:prstTxWarp>
            <a:spAutoFit/>
          </a:bodyPr>
          <a:lstStyle>
            <a:lvl1pPr algn="r" defTabSz="920615">
              <a:spcBef>
                <a:spcPct val="0"/>
              </a:spcBef>
              <a:defRPr b="1"/>
            </a:lvl1pPr>
          </a:lstStyle>
          <a:p>
            <a:endParaRPr lang="da-DK" dirty="0"/>
          </a:p>
        </p:txBody>
      </p:sp>
      <p:sp>
        <p:nvSpPr>
          <p:cNvPr id="310276" name="Rectangle 4"/>
          <p:cNvSpPr>
            <a:spLocks noGrp="1" noChangeArrowheads="1"/>
          </p:cNvSpPr>
          <p:nvPr>
            <p:ph type="ftr" sz="quarter" idx="2"/>
          </p:nvPr>
        </p:nvSpPr>
        <p:spPr bwMode="auto">
          <a:xfrm>
            <a:off x="1" y="9632120"/>
            <a:ext cx="182683" cy="278202"/>
          </a:xfrm>
          <a:prstGeom prst="rect">
            <a:avLst/>
          </a:prstGeom>
          <a:noFill/>
          <a:ln w="12700">
            <a:noFill/>
            <a:miter lim="800000"/>
            <a:headEnd/>
            <a:tailEnd/>
          </a:ln>
          <a:effectLst/>
        </p:spPr>
        <p:txBody>
          <a:bodyPr vert="horz" wrap="none" lIns="90668" tIns="47148" rIns="90668" bIns="47148" numCol="1" anchor="b" anchorCtr="0" compatLnSpc="1">
            <a:prstTxWarp prst="textNoShape">
              <a:avLst/>
            </a:prstTxWarp>
            <a:spAutoFit/>
          </a:bodyPr>
          <a:lstStyle>
            <a:lvl1pPr algn="l" defTabSz="920615">
              <a:spcBef>
                <a:spcPct val="0"/>
              </a:spcBef>
              <a:defRPr b="1"/>
            </a:lvl1pPr>
          </a:lstStyle>
          <a:p>
            <a:endParaRPr lang="da-DK" dirty="0"/>
          </a:p>
        </p:txBody>
      </p:sp>
      <p:sp>
        <p:nvSpPr>
          <p:cNvPr id="310277" name="Rectangle 5"/>
          <p:cNvSpPr>
            <a:spLocks noGrp="1" noChangeArrowheads="1"/>
          </p:cNvSpPr>
          <p:nvPr>
            <p:ph type="sldNum" sz="quarter" idx="3"/>
          </p:nvPr>
        </p:nvSpPr>
        <p:spPr bwMode="auto">
          <a:xfrm>
            <a:off x="6409687" y="9630439"/>
            <a:ext cx="370659" cy="279883"/>
          </a:xfrm>
          <a:prstGeom prst="rect">
            <a:avLst/>
          </a:prstGeom>
          <a:noFill/>
          <a:ln w="12700">
            <a:noFill/>
            <a:miter lim="800000"/>
            <a:headEnd/>
            <a:tailEnd/>
          </a:ln>
          <a:effectLst/>
        </p:spPr>
        <p:txBody>
          <a:bodyPr vert="horz" wrap="none" lIns="90668" tIns="47148" rIns="90668" bIns="47148" numCol="1" anchor="b" anchorCtr="0" compatLnSpc="1">
            <a:prstTxWarp prst="textNoShape">
              <a:avLst/>
            </a:prstTxWarp>
            <a:spAutoFit/>
          </a:bodyPr>
          <a:lstStyle>
            <a:lvl1pPr algn="r" defTabSz="920615">
              <a:spcBef>
                <a:spcPct val="0"/>
              </a:spcBef>
              <a:defRPr b="1"/>
            </a:lvl1pPr>
          </a:lstStyle>
          <a:p>
            <a:fld id="{759B724C-78FC-4698-BDE4-19F15588D530}" type="slidenum">
              <a:rPr lang="da-DK"/>
              <a:pPr/>
              <a:t>‹#›</a:t>
            </a:fld>
            <a:endParaRPr lang="da-DK" dirty="0"/>
          </a:p>
        </p:txBody>
      </p:sp>
    </p:spTree>
    <p:extLst>
      <p:ext uri="{BB962C8B-B14F-4D97-AF65-F5344CB8AC3E}">
        <p14:creationId xmlns:p14="http://schemas.microsoft.com/office/powerpoint/2010/main" val="662853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 y="1"/>
            <a:ext cx="2947429" cy="496164"/>
          </a:xfrm>
          <a:prstGeom prst="rect">
            <a:avLst/>
          </a:prstGeom>
          <a:noFill/>
          <a:ln w="9525">
            <a:noFill/>
            <a:miter lim="800000"/>
            <a:headEnd/>
            <a:tailEnd/>
          </a:ln>
          <a:effectLst/>
        </p:spPr>
        <p:txBody>
          <a:bodyPr vert="horz" wrap="square" lIns="91862" tIns="45930" rIns="91862" bIns="45930" numCol="1" anchor="t" anchorCtr="0" compatLnSpc="1">
            <a:prstTxWarp prst="textNoShape">
              <a:avLst/>
            </a:prstTxWarp>
          </a:bodyPr>
          <a:lstStyle>
            <a:lvl1pPr algn="l" defTabSz="917412">
              <a:spcBef>
                <a:spcPct val="0"/>
              </a:spcBef>
              <a:defRPr/>
            </a:lvl1pPr>
          </a:lstStyle>
          <a:p>
            <a:endParaRPr lang="en-GB" dirty="0"/>
          </a:p>
        </p:txBody>
      </p:sp>
      <p:sp>
        <p:nvSpPr>
          <p:cNvPr id="2051" name="Rectangle 3"/>
          <p:cNvSpPr>
            <a:spLocks noGrp="1" noChangeArrowheads="1"/>
          </p:cNvSpPr>
          <p:nvPr>
            <p:ph type="dt" idx="1"/>
          </p:nvPr>
        </p:nvSpPr>
        <p:spPr bwMode="auto">
          <a:xfrm>
            <a:off x="3847072" y="1"/>
            <a:ext cx="2947429" cy="496164"/>
          </a:xfrm>
          <a:prstGeom prst="rect">
            <a:avLst/>
          </a:prstGeom>
          <a:noFill/>
          <a:ln w="9525">
            <a:noFill/>
            <a:miter lim="800000"/>
            <a:headEnd/>
            <a:tailEnd/>
          </a:ln>
          <a:effectLst/>
        </p:spPr>
        <p:txBody>
          <a:bodyPr vert="horz" wrap="square" lIns="91862" tIns="45930" rIns="91862" bIns="45930" numCol="1" anchor="t" anchorCtr="0" compatLnSpc="1">
            <a:prstTxWarp prst="textNoShape">
              <a:avLst/>
            </a:prstTxWarp>
          </a:bodyPr>
          <a:lstStyle>
            <a:lvl1pPr algn="r" defTabSz="917412">
              <a:spcBef>
                <a:spcPct val="0"/>
              </a:spcBef>
              <a:defRPr/>
            </a:lvl1pPr>
          </a:lstStyle>
          <a:p>
            <a:endParaRPr lang="en-GB" dirty="0"/>
          </a:p>
        </p:txBody>
      </p:sp>
      <p:sp>
        <p:nvSpPr>
          <p:cNvPr id="2052" name="Rectangle 4"/>
          <p:cNvSpPr>
            <a:spLocks noGrp="1" noRot="1" noChangeAspect="1" noChangeArrowheads="1" noTextEdit="1"/>
          </p:cNvSpPr>
          <p:nvPr>
            <p:ph type="sldImg" idx="2"/>
          </p:nvPr>
        </p:nvSpPr>
        <p:spPr bwMode="auto">
          <a:xfrm>
            <a:off x="709613" y="744538"/>
            <a:ext cx="5378450" cy="3724275"/>
          </a:xfrm>
          <a:prstGeom prst="rect">
            <a:avLst/>
          </a:prstGeom>
          <a:noFill/>
          <a:ln w="9525">
            <a:solidFill>
              <a:srgbClr val="000000"/>
            </a:solidFill>
            <a:miter lim="800000"/>
            <a:headEnd/>
            <a:tailEnd/>
          </a:ln>
          <a:effectLst/>
        </p:spPr>
      </p:sp>
      <p:sp>
        <p:nvSpPr>
          <p:cNvPr id="2053" name="Rectangle 5"/>
          <p:cNvSpPr>
            <a:spLocks noGrp="1" noChangeArrowheads="1"/>
          </p:cNvSpPr>
          <p:nvPr>
            <p:ph type="body" sz="quarter" idx="3"/>
          </p:nvPr>
        </p:nvSpPr>
        <p:spPr bwMode="auto">
          <a:xfrm>
            <a:off x="710907" y="4715186"/>
            <a:ext cx="5382125" cy="108961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GB"/>
              <a:t>Klik for at redigere teksttypografien i masteren</a:t>
            </a:r>
          </a:p>
          <a:p>
            <a:pPr lvl="1"/>
            <a:r>
              <a:rPr lang="en-GB"/>
              <a:t>Andet niveau</a:t>
            </a:r>
          </a:p>
          <a:p>
            <a:pPr lvl="2"/>
            <a:r>
              <a:rPr lang="en-GB"/>
              <a:t>Tredje niveau</a:t>
            </a:r>
          </a:p>
          <a:p>
            <a:pPr lvl="3"/>
            <a:r>
              <a:rPr lang="en-GB"/>
              <a:t>Fjerde niveau</a:t>
            </a:r>
          </a:p>
          <a:p>
            <a:pPr lvl="4"/>
            <a:r>
              <a:rPr lang="en-GB"/>
              <a:t>Femte niveau</a:t>
            </a:r>
          </a:p>
        </p:txBody>
      </p:sp>
      <p:sp>
        <p:nvSpPr>
          <p:cNvPr id="2054" name="Rectangle 6"/>
          <p:cNvSpPr>
            <a:spLocks noGrp="1" noChangeArrowheads="1"/>
          </p:cNvSpPr>
          <p:nvPr>
            <p:ph type="ftr" sz="quarter" idx="4"/>
          </p:nvPr>
        </p:nvSpPr>
        <p:spPr bwMode="auto">
          <a:xfrm>
            <a:off x="1" y="9435236"/>
            <a:ext cx="2947429" cy="496164"/>
          </a:xfrm>
          <a:prstGeom prst="rect">
            <a:avLst/>
          </a:prstGeom>
          <a:noFill/>
          <a:ln w="9525">
            <a:noFill/>
            <a:miter lim="800000"/>
            <a:headEnd/>
            <a:tailEnd/>
          </a:ln>
          <a:effectLst/>
        </p:spPr>
        <p:txBody>
          <a:bodyPr vert="horz" wrap="square" lIns="91862" tIns="45930" rIns="91862" bIns="45930" numCol="1" anchor="b" anchorCtr="0" compatLnSpc="1">
            <a:prstTxWarp prst="textNoShape">
              <a:avLst/>
            </a:prstTxWarp>
          </a:bodyPr>
          <a:lstStyle>
            <a:lvl1pPr algn="l" defTabSz="917412">
              <a:spcBef>
                <a:spcPct val="0"/>
              </a:spcBef>
              <a:defRPr/>
            </a:lvl1pPr>
          </a:lstStyle>
          <a:p>
            <a:endParaRPr lang="en-GB" dirty="0"/>
          </a:p>
        </p:txBody>
      </p:sp>
      <p:sp>
        <p:nvSpPr>
          <p:cNvPr id="2055" name="Rectangle 7"/>
          <p:cNvSpPr>
            <a:spLocks noGrp="1" noChangeArrowheads="1"/>
          </p:cNvSpPr>
          <p:nvPr>
            <p:ph type="sldNum" sz="quarter" idx="5"/>
          </p:nvPr>
        </p:nvSpPr>
        <p:spPr bwMode="auto">
          <a:xfrm>
            <a:off x="3847072" y="9435236"/>
            <a:ext cx="2947429" cy="496164"/>
          </a:xfrm>
          <a:prstGeom prst="rect">
            <a:avLst/>
          </a:prstGeom>
          <a:noFill/>
          <a:ln w="9525">
            <a:noFill/>
            <a:miter lim="800000"/>
            <a:headEnd/>
            <a:tailEnd/>
          </a:ln>
          <a:effectLst/>
        </p:spPr>
        <p:txBody>
          <a:bodyPr vert="horz" wrap="square" lIns="91862" tIns="45930" rIns="91862" bIns="45930" numCol="1" anchor="b" anchorCtr="0" compatLnSpc="1">
            <a:prstTxWarp prst="textNoShape">
              <a:avLst/>
            </a:prstTxWarp>
          </a:bodyPr>
          <a:lstStyle>
            <a:lvl1pPr algn="r" defTabSz="917412">
              <a:spcBef>
                <a:spcPct val="0"/>
              </a:spcBef>
              <a:defRPr/>
            </a:lvl1pPr>
          </a:lstStyle>
          <a:p>
            <a:fld id="{1D57CA6B-6BE3-424D-A16A-799909235261}" type="slidenum">
              <a:rPr lang="en-GB" smtClean="0"/>
              <a:pPr/>
              <a:t>‹#›</a:t>
            </a:fld>
            <a:endParaRPr lang="en-GB" dirty="0"/>
          </a:p>
        </p:txBody>
      </p:sp>
    </p:spTree>
    <p:extLst>
      <p:ext uri="{BB962C8B-B14F-4D97-AF65-F5344CB8AC3E}">
        <p14:creationId xmlns:p14="http://schemas.microsoft.com/office/powerpoint/2010/main" val="3675367589"/>
      </p:ext>
    </p:extLst>
  </p:cSld>
  <p:clrMap bg1="lt1" tx1="dk1" bg2="lt2" tx2="dk2" accent1="accent1" accent2="accent2" accent3="accent3" accent4="accent4" accent5="accent5" accent6="accent6" hlink="hlink" folHlink="folHlink"/>
  <p:notesStyle>
    <a:lvl1pPr algn="l" rtl="0" eaLnBrk="0" fontAlgn="base" hangingPunct="0">
      <a:spcBef>
        <a:spcPct val="50000"/>
      </a:spcBef>
      <a:spcAft>
        <a:spcPct val="0"/>
      </a:spcAft>
      <a:defRPr sz="1000" kern="1200">
        <a:solidFill>
          <a:schemeClr val="tx1"/>
        </a:solidFill>
        <a:latin typeface="Arial" charset="0"/>
        <a:ea typeface="+mn-ea"/>
        <a:cs typeface="+mn-cs"/>
      </a:defRPr>
    </a:lvl1pPr>
    <a:lvl2pPr marL="136525" indent="-134938" algn="l" rtl="0" eaLnBrk="0" fontAlgn="base" hangingPunct="0">
      <a:spcBef>
        <a:spcPct val="50000"/>
      </a:spcBef>
      <a:spcAft>
        <a:spcPct val="0"/>
      </a:spcAft>
      <a:buChar char="•"/>
      <a:defRPr sz="1000" kern="1200">
        <a:solidFill>
          <a:schemeClr val="tx1"/>
        </a:solidFill>
        <a:latin typeface="Arial" charset="0"/>
        <a:ea typeface="+mn-ea"/>
        <a:cs typeface="+mn-cs"/>
      </a:defRPr>
    </a:lvl2pPr>
    <a:lvl3pPr marL="285750" indent="-147638" algn="l" rtl="0" eaLnBrk="0" fontAlgn="base" hangingPunct="0">
      <a:spcBef>
        <a:spcPct val="50000"/>
      </a:spcBef>
      <a:spcAft>
        <a:spcPct val="0"/>
      </a:spcAft>
      <a:buChar char="–"/>
      <a:defRPr sz="1000" kern="1200">
        <a:solidFill>
          <a:schemeClr val="tx1"/>
        </a:solidFill>
        <a:latin typeface="Arial" charset="0"/>
        <a:ea typeface="+mn-ea"/>
        <a:cs typeface="+mn-cs"/>
      </a:defRPr>
    </a:lvl3pPr>
    <a:lvl4pPr marL="422275" indent="-134938" algn="l" rtl="0" eaLnBrk="0" fontAlgn="base" hangingPunct="0">
      <a:spcBef>
        <a:spcPct val="50000"/>
      </a:spcBef>
      <a:spcAft>
        <a:spcPct val="0"/>
      </a:spcAft>
      <a:buChar char="·"/>
      <a:defRPr sz="1000" kern="1200">
        <a:solidFill>
          <a:schemeClr val="tx1"/>
        </a:solidFill>
        <a:latin typeface="Arial" charset="0"/>
        <a:ea typeface="+mn-ea"/>
        <a:cs typeface="+mn-cs"/>
      </a:defRPr>
    </a:lvl4pPr>
    <a:lvl5pPr marL="571500" indent="-147638" algn="l" rtl="0" eaLnBrk="0" fontAlgn="base" hangingPunct="0">
      <a:spcBef>
        <a:spcPct val="50000"/>
      </a:spcBef>
      <a:spcAft>
        <a:spcPct val="0"/>
      </a:spcAft>
      <a:buChar char="»"/>
      <a:defRPr sz="10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372F0-CD9F-B447-BF66-CCBC502ABF86}"/>
              </a:ext>
            </a:extLst>
          </p:cNvPr>
          <p:cNvSpPr>
            <a:spLocks noGrp="1"/>
          </p:cNvSpPr>
          <p:nvPr>
            <p:ph type="title"/>
          </p:nvPr>
        </p:nvSpPr>
        <p:spPr/>
        <p:txBody>
          <a:bodyPr/>
          <a:lstStyle/>
          <a:p>
            <a:r>
              <a:rPr lang="en-US"/>
              <a:t>Click to edit Master title style</a:t>
            </a:r>
            <a:endParaRPr lang="hu-HU"/>
          </a:p>
        </p:txBody>
      </p:sp>
      <p:sp>
        <p:nvSpPr>
          <p:cNvPr id="3" name="Slide Number Placeholder 2">
            <a:extLst>
              <a:ext uri="{FF2B5EF4-FFF2-40B4-BE49-F238E27FC236}">
                <a16:creationId xmlns:a16="http://schemas.microsoft.com/office/drawing/2014/main" id="{E04A4651-E7F4-F847-9A07-761557621465}"/>
              </a:ext>
            </a:extLst>
          </p:cNvPr>
          <p:cNvSpPr>
            <a:spLocks noGrp="1"/>
          </p:cNvSpPr>
          <p:nvPr>
            <p:ph type="sldNum" sz="quarter" idx="10"/>
          </p:nvPr>
        </p:nvSpPr>
        <p:spPr/>
        <p:txBody>
          <a:bodyPr/>
          <a:lstStyle/>
          <a:p>
            <a:fld id="{914292A2-C371-4A90-A5CC-38E01B82EA60}" type="slidenum">
              <a:rPr lang="de-DE" smtClean="0"/>
              <a:pPr/>
              <a:t>‹#›</a:t>
            </a:fld>
            <a:endParaRPr lang="de-DE" dirty="0"/>
          </a:p>
        </p:txBody>
      </p:sp>
      <p:sp>
        <p:nvSpPr>
          <p:cNvPr id="10" name="Text Placeholder 8">
            <a:extLst>
              <a:ext uri="{FF2B5EF4-FFF2-40B4-BE49-F238E27FC236}">
                <a16:creationId xmlns:a16="http://schemas.microsoft.com/office/drawing/2014/main" id="{CA56C44A-5AE6-AC43-818E-99212868E0F4}"/>
              </a:ext>
            </a:extLst>
          </p:cNvPr>
          <p:cNvSpPr>
            <a:spLocks noGrp="1"/>
          </p:cNvSpPr>
          <p:nvPr>
            <p:ph type="body" sz="quarter" idx="12"/>
          </p:nvPr>
        </p:nvSpPr>
        <p:spPr>
          <a:xfrm>
            <a:off x="427392" y="726856"/>
            <a:ext cx="3988800" cy="183600"/>
          </a:xfrm>
          <a:prstGeom prst="rect">
            <a:avLst/>
          </a:prstGeom>
        </p:spPr>
        <p:txBody>
          <a:bodyPr anchor="ctr" anchorCtr="0"/>
          <a:lstStyle>
            <a:lvl1pPr marL="0" marR="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a:lvl1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a:pPr>
            <a:endParaRPr lang="en-US" spc="100" dirty="0">
              <a:solidFill>
                <a:srgbClr val="107AAB"/>
              </a:solidFill>
              <a:latin typeface="Poppins Medium" panose="00000600000000000000" pitchFamily="2" charset="0"/>
              <a:cs typeface="Poppins Medium" panose="00000600000000000000" pitchFamily="2" charset="0"/>
            </a:endParaRPr>
          </a:p>
        </p:txBody>
      </p:sp>
      <p:sp>
        <p:nvSpPr>
          <p:cNvPr id="13" name="Text Placeholder 11">
            <a:extLst>
              <a:ext uri="{FF2B5EF4-FFF2-40B4-BE49-F238E27FC236}">
                <a16:creationId xmlns:a16="http://schemas.microsoft.com/office/drawing/2014/main" id="{6E12DC57-D021-274C-B00C-E129DB588201}"/>
              </a:ext>
            </a:extLst>
          </p:cNvPr>
          <p:cNvSpPr>
            <a:spLocks noGrp="1"/>
          </p:cNvSpPr>
          <p:nvPr>
            <p:ph type="body" sz="quarter" idx="13"/>
          </p:nvPr>
        </p:nvSpPr>
        <p:spPr>
          <a:xfrm>
            <a:off x="417513" y="6506116"/>
            <a:ext cx="3142800" cy="136800"/>
          </a:xfrm>
          <a:prstGeom prst="rect">
            <a:avLst/>
          </a:prstGeom>
        </p:spPr>
        <p:txBody>
          <a:bodyPr lIns="0" tIns="0" rIns="0" bIns="0" anchor="ctr" anchorCtr="0"/>
          <a:lstStyle>
            <a:lvl1pPr marL="0" marR="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sz="900">
                <a:solidFill>
                  <a:srgbClr val="05405E"/>
                </a:solidFill>
              </a:defRPr>
            </a:lvl1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a:pPr>
            <a:endParaRPr lang="hu-HU" dirty="0"/>
          </a:p>
        </p:txBody>
      </p:sp>
    </p:spTree>
    <p:extLst>
      <p:ext uri="{BB962C8B-B14F-4D97-AF65-F5344CB8AC3E}">
        <p14:creationId xmlns:p14="http://schemas.microsoft.com/office/powerpoint/2010/main" val="30983266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928703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5"/>
            </p:custDataLst>
            <p:extLst>
              <p:ext uri="{D42A27DB-BD31-4B8C-83A1-F6EECF244321}">
                <p14:modId xmlns:p14="http://schemas.microsoft.com/office/powerpoint/2010/main" val="27976301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 name="think-cell Slide" r:id="rId7" imgW="0" imgH="0" progId="TCLayout.ActiveDocument.1">
                  <p:embed/>
                </p:oleObj>
              </mc:Choice>
              <mc:Fallback>
                <p:oleObj name="think-cell Slide" r:id="rId7" imgW="0" imgH="0" progId="TCLayout.ActiveDocument.1">
                  <p:embed/>
                  <p:pic>
                    <p:nvPicPr>
                      <p:cNvPr id="1093" name="Rectangle 6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D13E924B-6D67-407F-92DD-50447513D752}"/>
              </a:ext>
            </a:extLst>
          </p:cNvPr>
          <p:cNvSpPr/>
          <p:nvPr userDrawn="1">
            <p:custDataLst>
              <p:tags r:id="rId6"/>
            </p:custDataLst>
          </p:nvPr>
        </p:nvSpPr>
        <p:spPr bwMode="auto">
          <a:xfrm>
            <a:off x="0" y="0"/>
            <a:ext cx="158750" cy="158750"/>
          </a:xfrm>
          <a:prstGeom prst="rect">
            <a:avLst/>
          </a:prstGeom>
          <a:solidFill>
            <a:srgbClr val="509AAF"/>
          </a:solidFill>
          <a:ln w="12700">
            <a:noFill/>
            <a:round/>
            <a:headEnd/>
            <a:tailEnd/>
          </a:ln>
        </p:spPr>
        <p:txBody>
          <a:bodyPr vert="horz" wrap="none" lIns="0" tIns="0" rIns="0" bIns="0" numCol="1" spcCol="0" rtlCol="0" anchor="ctr" anchorCtr="0">
            <a:noAutofit/>
          </a:bodyPr>
          <a:lstStyle/>
          <a:p>
            <a:pPr marL="0" lvl="0" indent="0" algn="l" eaLnBrk="0">
              <a:lnSpc>
                <a:spcPct val="100000"/>
              </a:lnSpc>
              <a:spcBef>
                <a:spcPct val="0"/>
              </a:spcBef>
              <a:spcAft>
                <a:spcPct val="0"/>
              </a:spcAft>
            </a:pPr>
            <a:endParaRPr lang="en-GB" sz="2400" b="0" i="0" baseline="0" dirty="0">
              <a:solidFill>
                <a:schemeClr val="tx2"/>
              </a:solidFill>
              <a:latin typeface="Poppins Black" panose="00000A00000000000000" pitchFamily="2" charset="0"/>
              <a:ea typeface="+mj-ea"/>
              <a:cs typeface="Poppins Black" panose="00000A00000000000000" pitchFamily="2" charset="0"/>
              <a:sym typeface="Poppins Black" panose="00000A00000000000000" pitchFamily="2" charset="0"/>
            </a:endParaRPr>
          </a:p>
        </p:txBody>
      </p:sp>
      <p:sp>
        <p:nvSpPr>
          <p:cNvPr id="1026" name="Rectangle 2"/>
          <p:cNvSpPr>
            <a:spLocks noGrp="1" noChangeArrowheads="1"/>
          </p:cNvSpPr>
          <p:nvPr>
            <p:ph type="title"/>
          </p:nvPr>
        </p:nvSpPr>
        <p:spPr bwMode="auto">
          <a:xfrm>
            <a:off x="417513" y="227576"/>
            <a:ext cx="6469200" cy="460800"/>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p>
            <a:endParaRPr lang="en-GB" dirty="0"/>
          </a:p>
        </p:txBody>
      </p:sp>
      <p:sp>
        <p:nvSpPr>
          <p:cNvPr id="3" name="[WorkArea]" descr="&lt;?xml version=&quot;1.0&quot; encoding=&quot;utf-16&quot;?&gt;&#10;&lt;GridTheme xmlns:xsd=&quot;http://www.w3.org/2001/XMLSchema&quot; xmlns:xsi=&quot;http://www.w3.org/2001/XMLSchema-instance&quot;&gt;&#10;  &lt;GuideLines /&gt;&#10;  &lt;WorkArea&gt;&#10;    &lt;Top&gt;94.12504&lt;/Top&gt;&#10;    &lt;Left&gt;32.87504&lt;/Left&gt;&#10;    &lt;Width&gt;714.374939&lt;/Width&gt;&#10;    &lt;Height&gt;388.374969&lt;/Height&gt;&#10;  &lt;/WorkArea&gt;&#10;  &lt;AspectW&gt;-1&lt;/AspectW&gt;&#10;  &lt;AspectH&gt;-1&lt;/AspectH&gt;&#10;  &lt;Width&gt;780&lt;/Width&gt;&#10;  &lt;Height&gt;540&lt;/Height&gt;&#10;  &lt;HGap&gt;5&lt;/HGap&gt;&#10;  &lt;VGap&gt;5&lt;/VGap&gt;&#10;  &lt;OfficeVersion&gt;-1&lt;/OfficeVersion&gt;&#10;&lt;/GridTheme&gt;" hidden="1"/>
          <p:cNvSpPr/>
          <p:nvPr userDrawn="1"/>
        </p:nvSpPr>
        <p:spPr bwMode="auto">
          <a:xfrm>
            <a:off x="417513" y="1195388"/>
            <a:ext cx="9072562" cy="4932362"/>
          </a:xfrm>
          <a:prstGeom prst="rect">
            <a:avLst/>
          </a:prstGeom>
          <a:solidFill>
            <a:srgbClr val="EAEAEA">
              <a:alpha val="50000"/>
            </a:srgbClr>
          </a:solidFill>
          <a:ln w="9525" cap="flat" cmpd="sng" algn="ctr">
            <a:solidFill>
              <a:schemeClr val="accent2">
                <a:alpha val="0"/>
              </a:schemeClr>
            </a:solidFill>
            <a:prstDash val="solid"/>
            <a:miter lim="800000"/>
            <a:headEnd type="none" w="med" len="med"/>
            <a:tailEnd type="none" w="med" len="med"/>
          </a:ln>
          <a:effectLst/>
        </p:spPr>
        <p:txBody>
          <a:bodyPr lIns="108000" tIns="108000" rIns="108000" bIns="108000" rtlCol="0" anchor="ctr">
            <a:noAutofit/>
          </a:bodyPr>
          <a:lstStyle/>
          <a:p>
            <a:pPr algn="l"/>
            <a:endParaRPr lang="en-GB" dirty="0"/>
          </a:p>
        </p:txBody>
      </p:sp>
      <p:sp>
        <p:nvSpPr>
          <p:cNvPr id="10" name="TextBox 9">
            <a:extLst>
              <a:ext uri="{FF2B5EF4-FFF2-40B4-BE49-F238E27FC236}">
                <a16:creationId xmlns:a16="http://schemas.microsoft.com/office/drawing/2014/main" id="{F4B78B19-AA6E-453A-958F-D16B7FB363D3}"/>
              </a:ext>
            </a:extLst>
          </p:cNvPr>
          <p:cNvSpPr txBox="1"/>
          <p:nvPr userDrawn="1"/>
        </p:nvSpPr>
        <p:spPr>
          <a:xfrm>
            <a:off x="7595506" y="227576"/>
            <a:ext cx="2016595" cy="276999"/>
          </a:xfrm>
          <a:prstGeom prst="rect">
            <a:avLst/>
          </a:prstGeom>
          <a:noFill/>
        </p:spPr>
        <p:txBody>
          <a:bodyPr wrap="square" rtlCol="0">
            <a:spAutoFit/>
          </a:bodyPr>
          <a:lstStyle/>
          <a:p>
            <a:pPr algn="r"/>
            <a:r>
              <a:rPr lang="de-DE" dirty="0">
                <a:solidFill>
                  <a:srgbClr val="05405E"/>
                </a:solidFill>
                <a:latin typeface="Poppins Medium" panose="00000600000000000000" pitchFamily="2" charset="0"/>
                <a:cs typeface="Poppins Medium" panose="00000600000000000000" pitchFamily="2" charset="0"/>
              </a:rPr>
              <a:t>Nordic</a:t>
            </a:r>
            <a:r>
              <a:rPr lang="de-DE" dirty="0">
                <a:latin typeface="Poppins Medium" panose="00000600000000000000" pitchFamily="2" charset="0"/>
                <a:cs typeface="Poppins Medium" panose="00000600000000000000" pitchFamily="2" charset="0"/>
              </a:rPr>
              <a:t> </a:t>
            </a:r>
            <a:r>
              <a:rPr lang="de-DE" dirty="0">
                <a:solidFill>
                  <a:srgbClr val="1EABD9"/>
                </a:solidFill>
                <a:latin typeface="Poppins Medium" panose="00000600000000000000" pitchFamily="2" charset="0"/>
                <a:cs typeface="Poppins Medium" panose="00000600000000000000" pitchFamily="2" charset="0"/>
              </a:rPr>
              <a:t>Consulting</a:t>
            </a:r>
          </a:p>
        </p:txBody>
      </p:sp>
      <p:sp>
        <p:nvSpPr>
          <p:cNvPr id="11" name="Rectangle 10">
            <a:extLst>
              <a:ext uri="{FF2B5EF4-FFF2-40B4-BE49-F238E27FC236}">
                <a16:creationId xmlns:a16="http://schemas.microsoft.com/office/drawing/2014/main" id="{5A03405A-D563-48EB-B8F8-68F4F3F9FF8D}"/>
              </a:ext>
            </a:extLst>
          </p:cNvPr>
          <p:cNvSpPr/>
          <p:nvPr userDrawn="1"/>
        </p:nvSpPr>
        <p:spPr bwMode="auto">
          <a:xfrm>
            <a:off x="0" y="6792686"/>
            <a:ext cx="9906000" cy="65314"/>
          </a:xfrm>
          <a:prstGeom prst="rect">
            <a:avLst/>
          </a:prstGeom>
          <a:gradFill flip="none" rotWithShape="1">
            <a:gsLst>
              <a:gs pos="0">
                <a:srgbClr val="05405E"/>
              </a:gs>
              <a:gs pos="30000">
                <a:srgbClr val="064F67"/>
              </a:gs>
              <a:gs pos="80500">
                <a:srgbClr val="1994CB"/>
              </a:gs>
              <a:gs pos="61000">
                <a:srgbClr val="107AAB"/>
              </a:gs>
              <a:gs pos="100000">
                <a:srgbClr val="1EABD9"/>
              </a:gs>
            </a:gsLst>
            <a:lin ang="0" scaled="1"/>
            <a:tileRect/>
          </a:gradFill>
          <a:ln w="12700">
            <a:noFill/>
            <a:round/>
            <a:headEnd/>
            <a:tailEnd/>
          </a:ln>
        </p:spPr>
        <p:txBody>
          <a:bodyPr wrap="square" lIns="0" tIns="0" rIns="0" bIns="0" rtlCol="0" anchor="ctr">
            <a:noAutofit/>
          </a:bodyPr>
          <a:lstStyle/>
          <a:p>
            <a:pPr algn="l"/>
            <a:endParaRPr lang="de-DE" dirty="0">
              <a:solidFill>
                <a:schemeClr val="tx2"/>
              </a:solidFill>
              <a:latin typeface="Poppins Medium" panose="00000600000000000000" pitchFamily="2" charset="0"/>
              <a:cs typeface="Poppins Medium" panose="00000600000000000000" pitchFamily="2" charset="0"/>
            </a:endParaRPr>
          </a:p>
        </p:txBody>
      </p:sp>
      <p:sp>
        <p:nvSpPr>
          <p:cNvPr id="2" name="Slide Number Placeholder 1">
            <a:extLst>
              <a:ext uri="{FF2B5EF4-FFF2-40B4-BE49-F238E27FC236}">
                <a16:creationId xmlns:a16="http://schemas.microsoft.com/office/drawing/2014/main" id="{9530DD37-1CDB-4383-B086-C7536B511E4E}"/>
              </a:ext>
            </a:extLst>
          </p:cNvPr>
          <p:cNvSpPr>
            <a:spLocks noGrp="1"/>
          </p:cNvSpPr>
          <p:nvPr>
            <p:ph type="sldNum" sz="quarter" idx="4"/>
          </p:nvPr>
        </p:nvSpPr>
        <p:spPr>
          <a:xfrm>
            <a:off x="9142794" y="6473550"/>
            <a:ext cx="410735" cy="190800"/>
          </a:xfrm>
          <a:prstGeom prst="rect">
            <a:avLst/>
          </a:prstGeom>
        </p:spPr>
        <p:txBody>
          <a:bodyPr vert="horz" lIns="91440" tIns="45720" rIns="91440" bIns="45720" rtlCol="0" anchor="ctr"/>
          <a:lstStyle>
            <a:lvl1pPr algn="r">
              <a:defRPr sz="1200">
                <a:solidFill>
                  <a:srgbClr val="8996A0"/>
                </a:solidFill>
                <a:latin typeface="+mn-lt"/>
                <a:cs typeface="Arial" panose="020B0604020202020204" pitchFamily="34" charset="0"/>
              </a:defRPr>
            </a:lvl1pPr>
          </a:lstStyle>
          <a:p>
            <a:fld id="{914292A2-C371-4A90-A5CC-38E01B82EA60}" type="slidenum">
              <a:rPr lang="de-DE" smtClean="0"/>
              <a:pPr/>
              <a:t>‹#›</a:t>
            </a:fld>
            <a:endParaRPr lang="de-DE" dirty="0"/>
          </a:p>
        </p:txBody>
      </p:sp>
      <p:sp>
        <p:nvSpPr>
          <p:cNvPr id="13" name="Text Placeholder 11">
            <a:extLst>
              <a:ext uri="{FF2B5EF4-FFF2-40B4-BE49-F238E27FC236}">
                <a16:creationId xmlns:a16="http://schemas.microsoft.com/office/drawing/2014/main" id="{D3DD8797-720F-054F-966B-82168CC2240E}"/>
              </a:ext>
            </a:extLst>
          </p:cNvPr>
          <p:cNvSpPr txBox="1">
            <a:spLocks/>
          </p:cNvSpPr>
          <p:nvPr userDrawn="1"/>
        </p:nvSpPr>
        <p:spPr>
          <a:xfrm>
            <a:off x="417513" y="6506116"/>
            <a:ext cx="3142800" cy="136800"/>
          </a:xfrm>
          <a:prstGeom prst="rect">
            <a:avLst/>
          </a:prstGeom>
        </p:spPr>
        <p:txBody>
          <a:bodyPr lIns="90000" tIns="46800" rIns="90000" bIns="46800" anchor="ctr" anchorCtr="0"/>
          <a:lstStyle>
            <a:lvl1pPr marL="0" marR="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sz="900">
                <a:solidFill>
                  <a:srgbClr val="05405E"/>
                </a:solidFill>
                <a:latin typeface="Poppins" panose="00000500000000000000" pitchFamily="2" charset="0"/>
                <a:ea typeface="+mn-ea"/>
                <a:cs typeface="Poppins" panose="00000500000000000000" pitchFamily="2" charset="0"/>
              </a:defRPr>
            </a:lvl1pPr>
            <a:lvl2pPr marL="136525" indent="-1349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2pPr>
            <a:lvl3pPr marL="285750" indent="-1476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3pPr>
            <a:lvl4pPr marL="422275" indent="-1349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4pPr>
            <a:lvl5pPr marL="571500" indent="-1476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5pPr>
            <a:lvl6pPr marL="1028700" indent="-147638" algn="l" rtl="0" eaLnBrk="1" fontAlgn="base" hangingPunct="1">
              <a:spcBef>
                <a:spcPct val="50000"/>
              </a:spcBef>
              <a:spcAft>
                <a:spcPct val="0"/>
              </a:spcAft>
              <a:buChar char="»"/>
              <a:defRPr sz="1200">
                <a:solidFill>
                  <a:schemeClr val="tx1"/>
                </a:solidFill>
                <a:latin typeface="+mn-lt"/>
              </a:defRPr>
            </a:lvl6pPr>
            <a:lvl7pPr marL="1485900" indent="-147638" algn="l" rtl="0" eaLnBrk="1" fontAlgn="base" hangingPunct="1">
              <a:spcBef>
                <a:spcPct val="50000"/>
              </a:spcBef>
              <a:spcAft>
                <a:spcPct val="0"/>
              </a:spcAft>
              <a:buChar char="»"/>
              <a:defRPr sz="1200">
                <a:solidFill>
                  <a:schemeClr val="tx1"/>
                </a:solidFill>
                <a:latin typeface="+mn-lt"/>
              </a:defRPr>
            </a:lvl7pPr>
            <a:lvl8pPr marL="1943100" indent="-147638" algn="l" rtl="0" eaLnBrk="1" fontAlgn="base" hangingPunct="1">
              <a:spcBef>
                <a:spcPct val="50000"/>
              </a:spcBef>
              <a:spcAft>
                <a:spcPct val="0"/>
              </a:spcAft>
              <a:buChar char="»"/>
              <a:defRPr sz="1200">
                <a:solidFill>
                  <a:schemeClr val="tx1"/>
                </a:solidFill>
                <a:latin typeface="+mn-lt"/>
              </a:defRPr>
            </a:lvl8pPr>
            <a:lvl9pPr marL="2400300" indent="-147638" algn="l" rtl="0" eaLnBrk="1" fontAlgn="base" hangingPunct="1">
              <a:spcBef>
                <a:spcPct val="50000"/>
              </a:spcBef>
              <a:spcAft>
                <a:spcPct val="0"/>
              </a:spcAft>
              <a:buChar char="»"/>
              <a:defRPr sz="1200">
                <a:solidFill>
                  <a:schemeClr val="tx1"/>
                </a:solidFill>
                <a:latin typeface="+mn-lt"/>
              </a:defRPr>
            </a:lvl9pPr>
          </a:lstStyle>
          <a:p>
            <a:endParaRPr lang="hu-HU" kern="0" dirty="0"/>
          </a:p>
        </p:txBody>
      </p:sp>
      <p:sp>
        <p:nvSpPr>
          <p:cNvPr id="7" name="Text Placeholder 6">
            <a:extLst>
              <a:ext uri="{FF2B5EF4-FFF2-40B4-BE49-F238E27FC236}">
                <a16:creationId xmlns:a16="http://schemas.microsoft.com/office/drawing/2014/main" id="{D60A0B2E-67CA-BC42-B608-B03AFD49884C}"/>
              </a:ext>
            </a:extLst>
          </p:cNvPr>
          <p:cNvSpPr>
            <a:spLocks noGrp="1"/>
          </p:cNvSpPr>
          <p:nvPr>
            <p:ph type="body" idx="1"/>
          </p:nvPr>
        </p:nvSpPr>
        <p:spPr>
          <a:xfrm>
            <a:off x="427392" y="726856"/>
            <a:ext cx="3988800" cy="183600"/>
          </a:xfrm>
          <a:prstGeom prst="rect">
            <a:avLst/>
          </a:prstGeom>
        </p:spPr>
        <p:txBody>
          <a:bodyPr vert="horz" lIns="0" tIns="0" rIns="0" bIns="0" rtlCol="0" anchor="ctr" anchorCtr="0">
            <a:normAutofit/>
          </a:bodyPr>
          <a:lstStyle/>
          <a:p>
            <a:pPr lvl="0"/>
            <a:endParaRPr lang="hu-HU" dirty="0"/>
          </a:p>
        </p:txBody>
      </p:sp>
    </p:spTree>
  </p:cSld>
  <p:clrMap bg1="lt1" tx1="dk1" bg2="lt2" tx2="dk2" accent1="accent1" accent2="accent2" accent3="accent3" accent4="accent4" accent5="accent5" accent6="accent6" hlink="hlink" folHlink="folHlink"/>
  <p:sldLayoutIdLst>
    <p:sldLayoutId id="2147483752" r:id="rId1"/>
    <p:sldLayoutId id="2147483753" r:id="rId2"/>
  </p:sldLayoutIdLst>
  <p:transition>
    <p:fade/>
  </p:transition>
  <p:hf hdr="0" ftr="0" dt="0"/>
  <p:txStyles>
    <p:titleStyle>
      <a:lvl1pPr algn="l" rtl="0" eaLnBrk="1" fontAlgn="base" hangingPunct="1">
        <a:spcBef>
          <a:spcPct val="0"/>
        </a:spcBef>
        <a:spcAft>
          <a:spcPct val="0"/>
        </a:spcAft>
        <a:defRPr lang="en-US" sz="2400" b="0" smtClean="0">
          <a:solidFill>
            <a:srgbClr val="05405E"/>
          </a:solidFill>
          <a:latin typeface="Poppins Black" panose="00000A00000000000000" pitchFamily="2" charset="0"/>
          <a:ea typeface="+mj-ea"/>
          <a:cs typeface="Poppins Black" panose="00000A00000000000000" pitchFamily="2"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p:titleStyle>
    <p:bodyStyle>
      <a:lvl1pPr marL="0" indent="0" algn="l" rtl="0" eaLnBrk="1" fontAlgn="base" hangingPunct="1">
        <a:spcBef>
          <a:spcPct val="50000"/>
        </a:spcBef>
        <a:spcAft>
          <a:spcPct val="0"/>
        </a:spcAft>
        <a:buFont typeface="Wingdings" panose="05000000000000000000" pitchFamily="2" charset="2"/>
        <a:buNone/>
        <a:defRPr sz="1200">
          <a:solidFill>
            <a:srgbClr val="107AAB"/>
          </a:solidFill>
          <a:latin typeface="Poppins" panose="00000500000000000000" pitchFamily="2" charset="0"/>
          <a:ea typeface="+mn-ea"/>
          <a:cs typeface="Poppins" panose="00000500000000000000" pitchFamily="2" charset="0"/>
        </a:defRPr>
      </a:lvl1pPr>
      <a:lvl2pPr marL="136525" indent="-1349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2pPr>
      <a:lvl3pPr marL="285750" indent="-1476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3pPr>
      <a:lvl4pPr marL="422275" indent="-1349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4pPr>
      <a:lvl5pPr marL="571500" indent="-1476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5pPr>
      <a:lvl6pPr marL="1028700" indent="-147638" algn="l" rtl="0" eaLnBrk="1" fontAlgn="base" hangingPunct="1">
        <a:spcBef>
          <a:spcPct val="50000"/>
        </a:spcBef>
        <a:spcAft>
          <a:spcPct val="0"/>
        </a:spcAft>
        <a:buChar char="»"/>
        <a:defRPr sz="1200">
          <a:solidFill>
            <a:schemeClr val="tx1"/>
          </a:solidFill>
          <a:latin typeface="+mn-lt"/>
        </a:defRPr>
      </a:lvl6pPr>
      <a:lvl7pPr marL="1485900" indent="-147638" algn="l" rtl="0" eaLnBrk="1" fontAlgn="base" hangingPunct="1">
        <a:spcBef>
          <a:spcPct val="50000"/>
        </a:spcBef>
        <a:spcAft>
          <a:spcPct val="0"/>
        </a:spcAft>
        <a:buChar char="»"/>
        <a:defRPr sz="1200">
          <a:solidFill>
            <a:schemeClr val="tx1"/>
          </a:solidFill>
          <a:latin typeface="+mn-lt"/>
        </a:defRPr>
      </a:lvl7pPr>
      <a:lvl8pPr marL="1943100" indent="-147638" algn="l" rtl="0" eaLnBrk="1" fontAlgn="base" hangingPunct="1">
        <a:spcBef>
          <a:spcPct val="50000"/>
        </a:spcBef>
        <a:spcAft>
          <a:spcPct val="0"/>
        </a:spcAft>
        <a:buChar char="»"/>
        <a:defRPr sz="1200">
          <a:solidFill>
            <a:schemeClr val="tx1"/>
          </a:solidFill>
          <a:latin typeface="+mn-lt"/>
        </a:defRPr>
      </a:lvl8pPr>
      <a:lvl9pPr marL="2400300" indent="-147638"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3" userDrawn="1">
          <p15:clr>
            <a:srgbClr val="F26B43"/>
          </p15:clr>
        </p15:guide>
        <p15:guide id="2" pos="5978" userDrawn="1">
          <p15:clr>
            <a:srgbClr val="F26B43"/>
          </p15:clr>
        </p15:guide>
        <p15:guide id="3" orient="horz" pos="753" userDrawn="1">
          <p15:clr>
            <a:srgbClr val="F26B43"/>
          </p15:clr>
        </p15:guide>
        <p15:guide id="4" orient="horz" pos="3960" userDrawn="1">
          <p15:clr>
            <a:srgbClr val="F26B43"/>
          </p15:clr>
        </p15:guide>
        <p15:guide id="5" pos="3272" userDrawn="1">
          <p15:clr>
            <a:srgbClr val="F26B43"/>
          </p15:clr>
        </p15:guide>
        <p15:guide id="6" pos="2968" userDrawn="1">
          <p15:clr>
            <a:srgbClr val="F26B43"/>
          </p15:clr>
        </p15:guide>
        <p15:guide id="7"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52D2D05-AFAD-F245-B742-064E7D4FDE33}"/>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8" name="Rectangle 7">
            <a:extLst>
              <a:ext uri="{FF2B5EF4-FFF2-40B4-BE49-F238E27FC236}">
                <a16:creationId xmlns:a16="http://schemas.microsoft.com/office/drawing/2014/main" id="{9F270D61-2BC3-8E44-8313-2EBAB2B99A65}"/>
              </a:ext>
            </a:extLst>
          </p:cNvPr>
          <p:cNvSpPr/>
          <p:nvPr/>
        </p:nvSpPr>
        <p:spPr bwMode="auto">
          <a:xfrm>
            <a:off x="0" y="4490523"/>
            <a:ext cx="9906000" cy="1685388"/>
          </a:xfrm>
          <a:prstGeom prst="rect">
            <a:avLst/>
          </a:prstGeom>
          <a:gradFill flip="none" rotWithShape="1">
            <a:gsLst>
              <a:gs pos="0">
                <a:srgbClr val="05405E">
                  <a:alpha val="90000"/>
                </a:srgbClr>
              </a:gs>
              <a:gs pos="30000">
                <a:srgbClr val="064F67">
                  <a:alpha val="90000"/>
                </a:srgbClr>
              </a:gs>
              <a:gs pos="80500">
                <a:srgbClr val="1994CB">
                  <a:alpha val="90000"/>
                </a:srgbClr>
              </a:gs>
              <a:gs pos="61000">
                <a:srgbClr val="107AAB">
                  <a:alpha val="90000"/>
                </a:srgbClr>
              </a:gs>
              <a:gs pos="100000">
                <a:srgbClr val="1EABD9">
                  <a:alpha val="90000"/>
                </a:srgbClr>
              </a:gs>
            </a:gsLst>
            <a:lin ang="0" scaled="1"/>
            <a:tileRect/>
          </a:gradFill>
          <a:ln w="12700">
            <a:noFill/>
            <a:round/>
            <a:headEnd/>
            <a:tailEnd/>
          </a:ln>
        </p:spPr>
        <p:txBody>
          <a:bodyPr wrap="square" lIns="0" tIns="0" rIns="0" bIns="0" rtlCol="0" anchor="ctr">
            <a:noAutofit/>
          </a:bodyPr>
          <a:lstStyle/>
          <a:p>
            <a:pPr algn="l"/>
            <a:endParaRPr lang="de-DE" dirty="0">
              <a:solidFill>
                <a:schemeClr val="tx2"/>
              </a:solidFill>
              <a:latin typeface="Poppins Medium" panose="00000600000000000000" pitchFamily="2" charset="0"/>
              <a:cs typeface="Poppins Medium" panose="00000600000000000000" pitchFamily="2" charset="0"/>
            </a:endParaRPr>
          </a:p>
        </p:txBody>
      </p:sp>
      <p:sp>
        <p:nvSpPr>
          <p:cNvPr id="10" name="TextBox 9">
            <a:extLst>
              <a:ext uri="{FF2B5EF4-FFF2-40B4-BE49-F238E27FC236}">
                <a16:creationId xmlns:a16="http://schemas.microsoft.com/office/drawing/2014/main" id="{FE901427-B380-1848-9A19-3BBE9F498907}"/>
              </a:ext>
            </a:extLst>
          </p:cNvPr>
          <p:cNvSpPr txBox="1"/>
          <p:nvPr/>
        </p:nvSpPr>
        <p:spPr>
          <a:xfrm>
            <a:off x="309334" y="4917719"/>
            <a:ext cx="6047015" cy="461665"/>
          </a:xfrm>
          <a:prstGeom prst="rect">
            <a:avLst/>
          </a:prstGeom>
          <a:noFill/>
        </p:spPr>
        <p:txBody>
          <a:bodyPr wrap="square" rtlCol="0">
            <a:spAutoFit/>
          </a:bodyPr>
          <a:lstStyle/>
          <a:p>
            <a:pPr algn="l"/>
            <a:r>
              <a:rPr lang="en-US" sz="2400" dirty="0">
                <a:solidFill>
                  <a:schemeClr val="bg1"/>
                </a:solidFill>
                <a:latin typeface="Poppins Black" panose="00000A00000000000000" pitchFamily="2" charset="0"/>
                <a:cs typeface="Poppins Black" panose="00000A00000000000000" pitchFamily="2" charset="0"/>
              </a:rPr>
              <a:t>Title</a:t>
            </a:r>
          </a:p>
        </p:txBody>
      </p:sp>
      <p:sp>
        <p:nvSpPr>
          <p:cNvPr id="11" name="TextBox 10">
            <a:extLst>
              <a:ext uri="{FF2B5EF4-FFF2-40B4-BE49-F238E27FC236}">
                <a16:creationId xmlns:a16="http://schemas.microsoft.com/office/drawing/2014/main" id="{65E83F63-68F5-164D-8F9C-8953E82BCDCB}"/>
              </a:ext>
            </a:extLst>
          </p:cNvPr>
          <p:cNvSpPr txBox="1"/>
          <p:nvPr/>
        </p:nvSpPr>
        <p:spPr>
          <a:xfrm>
            <a:off x="1386567" y="1905812"/>
            <a:ext cx="7132866" cy="461665"/>
          </a:xfrm>
          <a:prstGeom prst="rect">
            <a:avLst/>
          </a:prstGeom>
          <a:noFill/>
        </p:spPr>
        <p:txBody>
          <a:bodyPr wrap="square" rtlCol="0">
            <a:spAutoFit/>
          </a:bodyPr>
          <a:lstStyle/>
          <a:p>
            <a:r>
              <a:rPr lang="en-US" sz="2400" i="1" dirty="0">
                <a:solidFill>
                  <a:srgbClr val="107AAB"/>
                </a:solidFill>
                <a:latin typeface="Poppins Black" panose="00000A00000000000000" pitchFamily="2" charset="0"/>
                <a:cs typeface="Poppins Black" panose="00000A00000000000000" pitchFamily="2" charset="0"/>
              </a:rPr>
              <a:t>Innovation – productivity - optimization</a:t>
            </a:r>
          </a:p>
        </p:txBody>
      </p:sp>
      <p:sp>
        <p:nvSpPr>
          <p:cNvPr id="12" name="TextBox 11">
            <a:extLst>
              <a:ext uri="{FF2B5EF4-FFF2-40B4-BE49-F238E27FC236}">
                <a16:creationId xmlns:a16="http://schemas.microsoft.com/office/drawing/2014/main" id="{EB96D445-B31A-D246-A050-03712BA7175F}"/>
              </a:ext>
            </a:extLst>
          </p:cNvPr>
          <p:cNvSpPr txBox="1"/>
          <p:nvPr/>
        </p:nvSpPr>
        <p:spPr>
          <a:xfrm>
            <a:off x="7595506" y="227576"/>
            <a:ext cx="2016595" cy="276999"/>
          </a:xfrm>
          <a:prstGeom prst="rect">
            <a:avLst/>
          </a:prstGeom>
          <a:noFill/>
        </p:spPr>
        <p:txBody>
          <a:bodyPr wrap="square" rtlCol="0">
            <a:spAutoFit/>
          </a:bodyPr>
          <a:lstStyle/>
          <a:p>
            <a:pPr algn="r"/>
            <a:r>
              <a:rPr lang="de-DE" dirty="0">
                <a:solidFill>
                  <a:srgbClr val="05405E"/>
                </a:solidFill>
                <a:latin typeface="Poppins Medium" panose="00000600000000000000" pitchFamily="2" charset="0"/>
                <a:cs typeface="Poppins Medium" panose="00000600000000000000" pitchFamily="2" charset="0"/>
              </a:rPr>
              <a:t>Nordic</a:t>
            </a:r>
            <a:r>
              <a:rPr lang="de-DE" dirty="0">
                <a:latin typeface="Poppins Medium" panose="00000600000000000000" pitchFamily="2" charset="0"/>
                <a:cs typeface="Poppins Medium" panose="00000600000000000000" pitchFamily="2" charset="0"/>
              </a:rPr>
              <a:t> </a:t>
            </a:r>
            <a:r>
              <a:rPr lang="de-DE" dirty="0">
                <a:solidFill>
                  <a:srgbClr val="1EABD9"/>
                </a:solidFill>
                <a:latin typeface="Poppins Medium" panose="00000600000000000000" pitchFamily="2" charset="0"/>
                <a:cs typeface="Poppins Medium" panose="00000600000000000000" pitchFamily="2" charset="0"/>
              </a:rPr>
              <a:t>Consulting</a:t>
            </a:r>
          </a:p>
        </p:txBody>
      </p:sp>
    </p:spTree>
    <p:extLst>
      <p:ext uri="{BB962C8B-B14F-4D97-AF65-F5344CB8AC3E}">
        <p14:creationId xmlns:p14="http://schemas.microsoft.com/office/powerpoint/2010/main" val="19611115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8D091-218A-9B49-B6B6-1482446BDAED}"/>
              </a:ext>
            </a:extLst>
          </p:cNvPr>
          <p:cNvSpPr>
            <a:spLocks noGrp="1"/>
          </p:cNvSpPr>
          <p:nvPr>
            <p:ph type="title"/>
          </p:nvPr>
        </p:nvSpPr>
        <p:spPr>
          <a:xfrm>
            <a:off x="417513" y="227576"/>
            <a:ext cx="7362382" cy="460800"/>
          </a:xfrm>
        </p:spPr>
        <p:txBody>
          <a:bodyPr/>
          <a:lstStyle/>
          <a:p>
            <a:r>
              <a:rPr lang="en-IN" b="1" i="0" dirty="0">
                <a:solidFill>
                  <a:srgbClr val="05365E"/>
                </a:solidFill>
                <a:effectLst/>
              </a:rPr>
              <a:t>Top Business Problems and Their Solutions</a:t>
            </a:r>
            <a:endParaRPr lang="hu-HU" dirty="0">
              <a:solidFill>
                <a:srgbClr val="05365E"/>
              </a:solidFill>
            </a:endParaRPr>
          </a:p>
        </p:txBody>
      </p:sp>
      <p:sp>
        <p:nvSpPr>
          <p:cNvPr id="3" name="Slide Number Placeholder 2">
            <a:extLst>
              <a:ext uri="{FF2B5EF4-FFF2-40B4-BE49-F238E27FC236}">
                <a16:creationId xmlns:a16="http://schemas.microsoft.com/office/drawing/2014/main" id="{65A9BBBC-F954-E54D-9D73-7D2BC3054F9C}"/>
              </a:ext>
            </a:extLst>
          </p:cNvPr>
          <p:cNvSpPr>
            <a:spLocks noGrp="1"/>
          </p:cNvSpPr>
          <p:nvPr>
            <p:ph type="sldNum" sz="quarter" idx="10"/>
          </p:nvPr>
        </p:nvSpPr>
        <p:spPr/>
        <p:txBody>
          <a:bodyPr/>
          <a:lstStyle/>
          <a:p>
            <a:fld id="{914292A2-C371-4A90-A5CC-38E01B82EA60}" type="slidenum">
              <a:rPr lang="de-DE" smtClean="0"/>
              <a:pPr/>
              <a:t>2</a:t>
            </a:fld>
            <a:endParaRPr lang="de-DE" dirty="0"/>
          </a:p>
        </p:txBody>
      </p:sp>
      <p:sp>
        <p:nvSpPr>
          <p:cNvPr id="19" name="Rectangle 18">
            <a:extLst>
              <a:ext uri="{FF2B5EF4-FFF2-40B4-BE49-F238E27FC236}">
                <a16:creationId xmlns:a16="http://schemas.microsoft.com/office/drawing/2014/main" id="{9C7421FA-1C84-4AE4-9C1E-4D4C7DC950B7}"/>
              </a:ext>
            </a:extLst>
          </p:cNvPr>
          <p:cNvSpPr/>
          <p:nvPr/>
        </p:nvSpPr>
        <p:spPr bwMode="auto">
          <a:xfrm>
            <a:off x="417830" y="1195542"/>
            <a:ext cx="1874520" cy="620704"/>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0" name="Rectangle 19">
            <a:extLst>
              <a:ext uri="{FF2B5EF4-FFF2-40B4-BE49-F238E27FC236}">
                <a16:creationId xmlns:a16="http://schemas.microsoft.com/office/drawing/2014/main" id="{9F24DFDD-2E17-44DF-8333-4B2D4A14BBBE}"/>
              </a:ext>
            </a:extLst>
          </p:cNvPr>
          <p:cNvSpPr/>
          <p:nvPr/>
        </p:nvSpPr>
        <p:spPr bwMode="auto">
          <a:xfrm>
            <a:off x="3129788" y="1197447"/>
            <a:ext cx="1581912" cy="0"/>
          </a:xfrm>
          <a:prstGeom prst="rect">
            <a:avLst/>
          </a:prstGeom>
          <a:solidFill>
            <a:srgbClr val="05405E"/>
          </a:solidFill>
          <a:ln w="12700">
            <a:noFill/>
            <a:round/>
            <a:headEnd/>
            <a:tailEnd/>
          </a:ln>
        </p:spPr>
        <p:txBody>
          <a:bodyPr wrap="none" lIns="182880" tIns="182880" rIns="182880" bIns="182880" rtlCol="0" anchor="ctr">
            <a:noAutofit/>
          </a:bodyPr>
          <a:lstStyle/>
          <a:p>
            <a:r>
              <a:rPr lang="en-US" b="1" dirty="0">
                <a:solidFill>
                  <a:schemeClr val="bg1"/>
                </a:solidFill>
                <a:latin typeface="Poppins Medium" panose="00000600000000000000" pitchFamily="2" charset="0"/>
                <a:cs typeface="Poppins Medium" panose="00000600000000000000" pitchFamily="2" charset="0"/>
              </a:rPr>
              <a:t>Header example</a:t>
            </a:r>
          </a:p>
        </p:txBody>
      </p:sp>
      <p:sp>
        <p:nvSpPr>
          <p:cNvPr id="21" name="Rectangle 20">
            <a:extLst>
              <a:ext uri="{FF2B5EF4-FFF2-40B4-BE49-F238E27FC236}">
                <a16:creationId xmlns:a16="http://schemas.microsoft.com/office/drawing/2014/main" id="{72F76ADE-4BE4-4C7A-ADC4-B5581E96881D}"/>
              </a:ext>
            </a:extLst>
          </p:cNvPr>
          <p:cNvSpPr/>
          <p:nvPr/>
        </p:nvSpPr>
        <p:spPr bwMode="auto">
          <a:xfrm>
            <a:off x="2344293" y="1195542"/>
            <a:ext cx="3547872" cy="620704"/>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2" name="Rectangle 21">
            <a:extLst>
              <a:ext uri="{FF2B5EF4-FFF2-40B4-BE49-F238E27FC236}">
                <a16:creationId xmlns:a16="http://schemas.microsoft.com/office/drawing/2014/main" id="{2835AC00-39E0-4A09-BDBC-64790557A870}"/>
              </a:ext>
            </a:extLst>
          </p:cNvPr>
          <p:cNvSpPr/>
          <p:nvPr/>
        </p:nvSpPr>
        <p:spPr bwMode="auto">
          <a:xfrm>
            <a:off x="5944108" y="1195542"/>
            <a:ext cx="3547872" cy="620704"/>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3" name="Rectangle 22">
            <a:extLst>
              <a:ext uri="{FF2B5EF4-FFF2-40B4-BE49-F238E27FC236}">
                <a16:creationId xmlns:a16="http://schemas.microsoft.com/office/drawing/2014/main" id="{CD2C872E-E2C4-4686-A986-E5749D2AE41D}"/>
              </a:ext>
            </a:extLst>
          </p:cNvPr>
          <p:cNvSpPr/>
          <p:nvPr/>
        </p:nvSpPr>
        <p:spPr bwMode="auto">
          <a:xfrm>
            <a:off x="417830" y="1898093"/>
            <a:ext cx="1874520" cy="1199738"/>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4" name="Rectangle 23">
            <a:extLst>
              <a:ext uri="{FF2B5EF4-FFF2-40B4-BE49-F238E27FC236}">
                <a16:creationId xmlns:a16="http://schemas.microsoft.com/office/drawing/2014/main" id="{1FEB884F-D8DA-4794-9E3B-F07652DDACBA}"/>
              </a:ext>
            </a:extLst>
          </p:cNvPr>
          <p:cNvSpPr/>
          <p:nvPr/>
        </p:nvSpPr>
        <p:spPr bwMode="auto">
          <a:xfrm>
            <a:off x="417830" y="3179678"/>
            <a:ext cx="1874520" cy="1199738"/>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5" name="Rectangle 24">
            <a:extLst>
              <a:ext uri="{FF2B5EF4-FFF2-40B4-BE49-F238E27FC236}">
                <a16:creationId xmlns:a16="http://schemas.microsoft.com/office/drawing/2014/main" id="{B983686A-9EF3-4315-9098-748A9968FB7D}"/>
              </a:ext>
            </a:extLst>
          </p:cNvPr>
          <p:cNvSpPr/>
          <p:nvPr/>
        </p:nvSpPr>
        <p:spPr bwMode="auto">
          <a:xfrm>
            <a:off x="417830" y="4461263"/>
            <a:ext cx="1874520" cy="1199738"/>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6" name="Rectangle 25">
            <a:extLst>
              <a:ext uri="{FF2B5EF4-FFF2-40B4-BE49-F238E27FC236}">
                <a16:creationId xmlns:a16="http://schemas.microsoft.com/office/drawing/2014/main" id="{239B06FC-4C55-409D-B9BD-C1BFCDDC9D84}"/>
              </a:ext>
            </a:extLst>
          </p:cNvPr>
          <p:cNvSpPr/>
          <p:nvPr/>
        </p:nvSpPr>
        <p:spPr bwMode="auto">
          <a:xfrm>
            <a:off x="2342388" y="1898093"/>
            <a:ext cx="3547872" cy="1199737"/>
          </a:xfrm>
          <a:prstGeom prst="rect">
            <a:avLst/>
          </a:prstGeom>
          <a:solidFill>
            <a:schemeClr val="bg1">
              <a:lumMod val="95000"/>
            </a:schemeClr>
          </a:solidFill>
          <a:ln w="12700">
            <a:noFill/>
            <a:round/>
            <a:headEnd/>
            <a:tailEnd/>
          </a:ln>
        </p:spPr>
        <p:txBody>
          <a:bodyPr wrap="square" lIns="182880" tIns="182880" rIns="182880" bIns="182880" rtlCol="0" anchor="t">
            <a:noAutofit/>
          </a:bodyPr>
          <a:lstStyle/>
          <a:p>
            <a:pPr algn="l"/>
            <a:r>
              <a:rPr lang="en-IN" sz="1050" dirty="0">
                <a:latin typeface="+mn-lt"/>
              </a:rPr>
              <a:t>One of the major reasons for entrepreneurs to be worried is financial issues. It is common for businesses To run out of cash, due to one reason or other. This can cause a business to delay payments, which results in heavy fees and other such problems. </a:t>
            </a:r>
          </a:p>
        </p:txBody>
      </p:sp>
      <p:sp>
        <p:nvSpPr>
          <p:cNvPr id="27" name="Rectangle 26">
            <a:extLst>
              <a:ext uri="{FF2B5EF4-FFF2-40B4-BE49-F238E27FC236}">
                <a16:creationId xmlns:a16="http://schemas.microsoft.com/office/drawing/2014/main" id="{7F4B8D10-96DC-44AF-A7C5-63F8BABC045F}"/>
              </a:ext>
            </a:extLst>
          </p:cNvPr>
          <p:cNvSpPr/>
          <p:nvPr/>
        </p:nvSpPr>
        <p:spPr bwMode="auto">
          <a:xfrm>
            <a:off x="2342388" y="3179677"/>
            <a:ext cx="3547872" cy="1199738"/>
          </a:xfrm>
          <a:prstGeom prst="rect">
            <a:avLst/>
          </a:prstGeom>
          <a:solidFill>
            <a:schemeClr val="bg1">
              <a:lumMod val="95000"/>
            </a:schemeClr>
          </a:solidFill>
          <a:ln w="12700">
            <a:noFill/>
            <a:round/>
            <a:headEnd/>
            <a:tailEnd/>
          </a:ln>
        </p:spPr>
        <p:txBody>
          <a:bodyPr wrap="square" lIns="182880" tIns="182880" rIns="182880" bIns="182880" rtlCol="0" anchor="t">
            <a:noAutofit/>
          </a:bodyPr>
          <a:lstStyle/>
          <a:p>
            <a:pPr algn="l"/>
            <a:r>
              <a:rPr lang="en-IN" sz="1050" dirty="0">
                <a:latin typeface="+mn-lt"/>
              </a:rPr>
              <a:t>Client issues include not having enough clients or having clients that are very difficult to work with.</a:t>
            </a:r>
          </a:p>
          <a:p>
            <a:pPr marL="171450" indent="-171450" algn="l">
              <a:buFont typeface="Wingdings" panose="05000000000000000000" pitchFamily="2" charset="2"/>
              <a:buChar char="§"/>
            </a:pPr>
            <a:endParaRPr lang="en-US" dirty="0">
              <a:solidFill>
                <a:srgbClr val="F2F2F2"/>
              </a:solidFill>
              <a:latin typeface="Poppins Medium" panose="00000600000000000000" pitchFamily="2" charset="0"/>
              <a:cs typeface="Poppins Medium" panose="00000600000000000000" pitchFamily="2" charset="0"/>
            </a:endParaRPr>
          </a:p>
        </p:txBody>
      </p:sp>
      <p:sp>
        <p:nvSpPr>
          <p:cNvPr id="28" name="Rectangle 27">
            <a:extLst>
              <a:ext uri="{FF2B5EF4-FFF2-40B4-BE49-F238E27FC236}">
                <a16:creationId xmlns:a16="http://schemas.microsoft.com/office/drawing/2014/main" id="{84348AF4-FB43-4C41-A960-8F260756C6A2}"/>
              </a:ext>
            </a:extLst>
          </p:cNvPr>
          <p:cNvSpPr/>
          <p:nvPr/>
        </p:nvSpPr>
        <p:spPr bwMode="auto">
          <a:xfrm>
            <a:off x="2342388" y="4461262"/>
            <a:ext cx="3547872" cy="1199738"/>
          </a:xfrm>
          <a:prstGeom prst="rect">
            <a:avLst/>
          </a:prstGeom>
          <a:solidFill>
            <a:schemeClr val="bg1">
              <a:lumMod val="95000"/>
            </a:schemeClr>
          </a:solidFill>
          <a:ln w="12700">
            <a:noFill/>
            <a:round/>
            <a:headEnd/>
            <a:tailEnd/>
          </a:ln>
        </p:spPr>
        <p:txBody>
          <a:bodyPr wrap="square" lIns="182880" tIns="182880" rIns="182880" bIns="182880" rtlCol="0" anchor="t">
            <a:noAutofit/>
          </a:bodyPr>
          <a:lstStyle/>
          <a:p>
            <a:pPr algn="l"/>
            <a:r>
              <a:rPr lang="en-IN" sz="1050" dirty="0">
                <a:latin typeface="+mn-lt"/>
              </a:rPr>
              <a:t>Inventory issues include running out of inventory. This can be due to several reasons including poor management or not having enough cash to buy inventory.</a:t>
            </a:r>
          </a:p>
        </p:txBody>
      </p:sp>
      <p:sp>
        <p:nvSpPr>
          <p:cNvPr id="29" name="Rectangle 28">
            <a:extLst>
              <a:ext uri="{FF2B5EF4-FFF2-40B4-BE49-F238E27FC236}">
                <a16:creationId xmlns:a16="http://schemas.microsoft.com/office/drawing/2014/main" id="{4BFE680F-2DC7-46F4-870F-F51065E4F9AD}"/>
              </a:ext>
            </a:extLst>
          </p:cNvPr>
          <p:cNvSpPr/>
          <p:nvPr/>
        </p:nvSpPr>
        <p:spPr bwMode="auto">
          <a:xfrm>
            <a:off x="5944877" y="1898093"/>
            <a:ext cx="3547872" cy="1199738"/>
          </a:xfrm>
          <a:prstGeom prst="rect">
            <a:avLst/>
          </a:prstGeom>
          <a:solidFill>
            <a:srgbClr val="F2F2F2"/>
          </a:solidFill>
          <a:ln w="12700">
            <a:noFill/>
            <a:round/>
            <a:headEnd/>
            <a:tailEnd/>
          </a:ln>
        </p:spPr>
        <p:txBody>
          <a:bodyPr wrap="square" lIns="182880" tIns="182880" rIns="182880" bIns="182880" rtlCol="0" anchor="t">
            <a:noAutofit/>
          </a:bodyPr>
          <a:lstStyle/>
          <a:p>
            <a:pPr algn="l"/>
            <a:r>
              <a:rPr lang="en-IN" sz="1050" dirty="0">
                <a:latin typeface="+mn-lt"/>
              </a:rPr>
              <a:t>In such a situation a business has two options, i.e. to decrease spending and to increase revenue. </a:t>
            </a:r>
          </a:p>
          <a:p>
            <a:pPr algn="l"/>
            <a:endParaRPr lang="en-US" dirty="0">
              <a:solidFill>
                <a:srgbClr val="05405E"/>
              </a:solidFill>
              <a:latin typeface="Poppins Medium" panose="00000600000000000000" pitchFamily="2" charset="0"/>
              <a:cs typeface="Poppins Medium" panose="00000600000000000000" pitchFamily="2" charset="0"/>
            </a:endParaRPr>
          </a:p>
        </p:txBody>
      </p:sp>
      <p:sp>
        <p:nvSpPr>
          <p:cNvPr id="30" name="Rectangle 29">
            <a:extLst>
              <a:ext uri="{FF2B5EF4-FFF2-40B4-BE49-F238E27FC236}">
                <a16:creationId xmlns:a16="http://schemas.microsoft.com/office/drawing/2014/main" id="{406D04B3-BC6D-4494-A6AC-DD1F08F11CB8}"/>
              </a:ext>
            </a:extLst>
          </p:cNvPr>
          <p:cNvSpPr/>
          <p:nvPr/>
        </p:nvSpPr>
        <p:spPr bwMode="auto">
          <a:xfrm>
            <a:off x="5944877" y="3179678"/>
            <a:ext cx="3547872" cy="1199738"/>
          </a:xfrm>
          <a:prstGeom prst="rect">
            <a:avLst/>
          </a:prstGeom>
          <a:solidFill>
            <a:srgbClr val="F2F2F2"/>
          </a:solidFill>
          <a:ln w="12700">
            <a:noFill/>
            <a:round/>
            <a:headEnd/>
            <a:tailEnd/>
          </a:ln>
        </p:spPr>
        <p:txBody>
          <a:bodyPr wrap="square" lIns="182880" tIns="182880" rIns="182880" bIns="182880" rtlCol="0" anchor="t">
            <a:noAutofit/>
          </a:bodyPr>
          <a:lstStyle/>
          <a:p>
            <a:pPr algn="l"/>
            <a:r>
              <a:rPr lang="en-IN" sz="1050" dirty="0">
                <a:latin typeface="+mn-lt"/>
              </a:rPr>
              <a:t>The best option is to be careful when picking clients and to stay away from troublesome individuals. Secondly, draw up a contract that prevents your rights and puts limitations on the kind of demands a client can make.</a:t>
            </a:r>
          </a:p>
        </p:txBody>
      </p:sp>
      <p:sp>
        <p:nvSpPr>
          <p:cNvPr id="31" name="Rectangle 30">
            <a:extLst>
              <a:ext uri="{FF2B5EF4-FFF2-40B4-BE49-F238E27FC236}">
                <a16:creationId xmlns:a16="http://schemas.microsoft.com/office/drawing/2014/main" id="{95598CD9-1A9B-4398-A42B-405D2DBA86AA}"/>
              </a:ext>
            </a:extLst>
          </p:cNvPr>
          <p:cNvSpPr/>
          <p:nvPr/>
        </p:nvSpPr>
        <p:spPr bwMode="auto">
          <a:xfrm>
            <a:off x="5944877" y="4461263"/>
            <a:ext cx="3547872" cy="1199738"/>
          </a:xfrm>
          <a:prstGeom prst="rect">
            <a:avLst/>
          </a:prstGeom>
          <a:solidFill>
            <a:srgbClr val="F2F2F2"/>
          </a:solidFill>
          <a:ln w="12700">
            <a:noFill/>
            <a:round/>
            <a:headEnd/>
            <a:tailEnd/>
          </a:ln>
        </p:spPr>
        <p:txBody>
          <a:bodyPr wrap="square" lIns="182880" tIns="182880" rIns="182880" bIns="182880" rtlCol="0" anchor="t">
            <a:noAutofit/>
          </a:bodyPr>
          <a:lstStyle/>
          <a:p>
            <a:pPr algn="l"/>
            <a:r>
              <a:rPr lang="en-IN" sz="1050" dirty="0">
                <a:latin typeface="+mn-lt"/>
              </a:rPr>
              <a:t>The solution is to use an inventory management software so that you are well aware of what you need and when. This way you will never run out of inventory.</a:t>
            </a:r>
          </a:p>
        </p:txBody>
      </p:sp>
      <p:sp>
        <p:nvSpPr>
          <p:cNvPr id="32" name="TextBox 31">
            <a:extLst>
              <a:ext uri="{FF2B5EF4-FFF2-40B4-BE49-F238E27FC236}">
                <a16:creationId xmlns:a16="http://schemas.microsoft.com/office/drawing/2014/main" id="{0FD1B839-4889-4ACB-8599-F460BA020916}"/>
              </a:ext>
            </a:extLst>
          </p:cNvPr>
          <p:cNvSpPr txBox="1"/>
          <p:nvPr/>
        </p:nvSpPr>
        <p:spPr>
          <a:xfrm>
            <a:off x="682688" y="2201282"/>
            <a:ext cx="1340995" cy="587573"/>
          </a:xfrm>
          <a:prstGeom prst="rect">
            <a:avLst/>
          </a:prstGeom>
          <a:noFill/>
        </p:spPr>
        <p:txBody>
          <a:bodyPr wrap="square" lIns="182880" tIns="182880" rIns="182880" bIns="182880" rtlCol="0">
            <a:noAutofit/>
          </a:bodyPr>
          <a:lstStyle/>
          <a:p>
            <a:r>
              <a:rPr lang="en-IN" sz="1050" b="1" dirty="0">
                <a:solidFill>
                  <a:schemeClr val="bg1"/>
                </a:solidFill>
                <a:latin typeface="+mn-lt"/>
              </a:rPr>
              <a:t>Financial</a:t>
            </a:r>
          </a:p>
        </p:txBody>
      </p:sp>
      <p:sp>
        <p:nvSpPr>
          <p:cNvPr id="33" name="TextBox 32">
            <a:extLst>
              <a:ext uri="{FF2B5EF4-FFF2-40B4-BE49-F238E27FC236}">
                <a16:creationId xmlns:a16="http://schemas.microsoft.com/office/drawing/2014/main" id="{5AFE8923-AE74-4B79-A40A-434BA1816BE4}"/>
              </a:ext>
            </a:extLst>
          </p:cNvPr>
          <p:cNvSpPr txBox="1"/>
          <p:nvPr/>
        </p:nvSpPr>
        <p:spPr>
          <a:xfrm>
            <a:off x="682688" y="3466601"/>
            <a:ext cx="1340995" cy="587573"/>
          </a:xfrm>
          <a:prstGeom prst="rect">
            <a:avLst/>
          </a:prstGeom>
          <a:noFill/>
        </p:spPr>
        <p:txBody>
          <a:bodyPr wrap="square" lIns="182880" tIns="182880" rIns="182880" bIns="182880" rtlCol="0">
            <a:noAutofit/>
          </a:bodyPr>
          <a:lstStyle/>
          <a:p>
            <a:r>
              <a:rPr lang="en-IN" sz="1050" b="1" dirty="0">
                <a:solidFill>
                  <a:schemeClr val="bg1"/>
                </a:solidFill>
                <a:latin typeface="+mn-lt"/>
              </a:rPr>
              <a:t>Client</a:t>
            </a:r>
          </a:p>
        </p:txBody>
      </p:sp>
      <p:sp>
        <p:nvSpPr>
          <p:cNvPr id="34" name="TextBox 33">
            <a:extLst>
              <a:ext uri="{FF2B5EF4-FFF2-40B4-BE49-F238E27FC236}">
                <a16:creationId xmlns:a16="http://schemas.microsoft.com/office/drawing/2014/main" id="{1EF81880-3D43-46E0-B97D-ED3F82FBCB17}"/>
              </a:ext>
            </a:extLst>
          </p:cNvPr>
          <p:cNvSpPr txBox="1"/>
          <p:nvPr/>
        </p:nvSpPr>
        <p:spPr>
          <a:xfrm>
            <a:off x="682688" y="4731920"/>
            <a:ext cx="1340995" cy="587573"/>
          </a:xfrm>
          <a:prstGeom prst="rect">
            <a:avLst/>
          </a:prstGeom>
          <a:noFill/>
        </p:spPr>
        <p:txBody>
          <a:bodyPr wrap="square" lIns="182880" tIns="182880" rIns="182880" bIns="182880" rtlCol="0">
            <a:noAutofit/>
          </a:bodyPr>
          <a:lstStyle/>
          <a:p>
            <a:r>
              <a:rPr lang="en-IN" sz="1050" b="1" dirty="0">
                <a:solidFill>
                  <a:schemeClr val="bg1"/>
                </a:solidFill>
                <a:latin typeface="+mn-lt"/>
              </a:rPr>
              <a:t>Inventory</a:t>
            </a:r>
          </a:p>
        </p:txBody>
      </p:sp>
      <p:sp>
        <p:nvSpPr>
          <p:cNvPr id="35" name="TextBox 34">
            <a:extLst>
              <a:ext uri="{FF2B5EF4-FFF2-40B4-BE49-F238E27FC236}">
                <a16:creationId xmlns:a16="http://schemas.microsoft.com/office/drawing/2014/main" id="{D4AF50EF-5B7C-4B57-AD27-AAAC588E1236}"/>
              </a:ext>
            </a:extLst>
          </p:cNvPr>
          <p:cNvSpPr txBox="1"/>
          <p:nvPr/>
        </p:nvSpPr>
        <p:spPr>
          <a:xfrm>
            <a:off x="562684" y="1197447"/>
            <a:ext cx="1644623" cy="587573"/>
          </a:xfrm>
          <a:prstGeom prst="rect">
            <a:avLst/>
          </a:prstGeom>
          <a:noFill/>
        </p:spPr>
        <p:txBody>
          <a:bodyPr wrap="square" lIns="182880" tIns="182880" rIns="182880" bIns="182880" rtlCol="0">
            <a:noAutofit/>
          </a:bodyPr>
          <a:lstStyle/>
          <a:p>
            <a:r>
              <a:rPr lang="en-IN" sz="1050" b="1" dirty="0">
                <a:solidFill>
                  <a:schemeClr val="bg1"/>
                </a:solidFill>
                <a:latin typeface="+mn-lt"/>
              </a:rPr>
              <a:t>Issue category</a:t>
            </a:r>
          </a:p>
        </p:txBody>
      </p:sp>
      <p:sp>
        <p:nvSpPr>
          <p:cNvPr id="36" name="TextBox 35">
            <a:extLst>
              <a:ext uri="{FF2B5EF4-FFF2-40B4-BE49-F238E27FC236}">
                <a16:creationId xmlns:a16="http://schemas.microsoft.com/office/drawing/2014/main" id="{5413CCFC-77EE-44BC-9BD3-835E91DAE6C3}"/>
              </a:ext>
            </a:extLst>
          </p:cNvPr>
          <p:cNvSpPr txBox="1"/>
          <p:nvPr/>
        </p:nvSpPr>
        <p:spPr>
          <a:xfrm>
            <a:off x="3242087" y="1213060"/>
            <a:ext cx="1748474" cy="587573"/>
          </a:xfrm>
          <a:prstGeom prst="rect">
            <a:avLst/>
          </a:prstGeom>
          <a:noFill/>
        </p:spPr>
        <p:txBody>
          <a:bodyPr wrap="square" lIns="182880" tIns="182880" rIns="182880" bIns="182880" rtlCol="0">
            <a:noAutofit/>
          </a:bodyPr>
          <a:lstStyle/>
          <a:p>
            <a:r>
              <a:rPr lang="en-IN" sz="1050" b="1" dirty="0">
                <a:solidFill>
                  <a:schemeClr val="bg1"/>
                </a:solidFill>
                <a:latin typeface="+mn-lt"/>
              </a:rPr>
              <a:t>Problem</a:t>
            </a:r>
          </a:p>
        </p:txBody>
      </p:sp>
      <p:sp>
        <p:nvSpPr>
          <p:cNvPr id="37" name="TextBox 36">
            <a:extLst>
              <a:ext uri="{FF2B5EF4-FFF2-40B4-BE49-F238E27FC236}">
                <a16:creationId xmlns:a16="http://schemas.microsoft.com/office/drawing/2014/main" id="{3F02D562-DBC7-49CA-8642-6566A7BFB320}"/>
              </a:ext>
            </a:extLst>
          </p:cNvPr>
          <p:cNvSpPr txBox="1"/>
          <p:nvPr/>
        </p:nvSpPr>
        <p:spPr>
          <a:xfrm>
            <a:off x="6677660" y="1197447"/>
            <a:ext cx="1805528" cy="587573"/>
          </a:xfrm>
          <a:prstGeom prst="rect">
            <a:avLst/>
          </a:prstGeom>
          <a:noFill/>
        </p:spPr>
        <p:txBody>
          <a:bodyPr wrap="square" lIns="182880" tIns="182880" rIns="182880" bIns="182880" rtlCol="0">
            <a:noAutofit/>
          </a:bodyPr>
          <a:lstStyle/>
          <a:p>
            <a:r>
              <a:rPr lang="en-IN" sz="1050" b="1" dirty="0">
                <a:solidFill>
                  <a:schemeClr val="bg1"/>
                </a:solidFill>
                <a:latin typeface="+mn-lt"/>
              </a:rPr>
              <a:t>Solution</a:t>
            </a:r>
          </a:p>
        </p:txBody>
      </p:sp>
      <p:sp>
        <p:nvSpPr>
          <p:cNvPr id="4" name="TextBox 3">
            <a:extLst>
              <a:ext uri="{FF2B5EF4-FFF2-40B4-BE49-F238E27FC236}">
                <a16:creationId xmlns:a16="http://schemas.microsoft.com/office/drawing/2014/main" id="{18EEA641-C9B3-4111-90D6-F56DD508FB45}"/>
              </a:ext>
            </a:extLst>
          </p:cNvPr>
          <p:cNvSpPr txBox="1"/>
          <p:nvPr/>
        </p:nvSpPr>
        <p:spPr>
          <a:xfrm>
            <a:off x="417195" y="5742849"/>
            <a:ext cx="9074785" cy="545556"/>
          </a:xfrm>
          <a:prstGeom prst="rect">
            <a:avLst/>
          </a:prstGeom>
          <a:solidFill>
            <a:srgbClr val="E614D7"/>
          </a:solidFill>
        </p:spPr>
        <p:txBody>
          <a:bodyPr wrap="square" lIns="182880" tIns="182880" rIns="182880" bIns="182880" rtlCol="0">
            <a:noAutofit/>
          </a:bodyPr>
          <a:lstStyle/>
          <a:p>
            <a:r>
              <a:rPr lang="en-IN" sz="1050" b="1" dirty="0">
                <a:solidFill>
                  <a:schemeClr val="bg1"/>
                </a:solidFill>
                <a:latin typeface="Poppins Medium" panose="02000000000000000000" pitchFamily="2" charset="0"/>
                <a:cs typeface="Poppins Medium" panose="02000000000000000000" pitchFamily="2" charset="0"/>
              </a:rPr>
              <a:t>Business opportunities are like buses, there’s always another one coming.</a:t>
            </a:r>
          </a:p>
          <a:p>
            <a:endParaRPr lang="en-IN" dirty="0"/>
          </a:p>
        </p:txBody>
      </p:sp>
    </p:spTree>
    <p:extLst>
      <p:ext uri="{BB962C8B-B14F-4D97-AF65-F5344CB8AC3E}">
        <p14:creationId xmlns:p14="http://schemas.microsoft.com/office/powerpoint/2010/main" val="9725927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Oval 221">
            <a:extLst>
              <a:ext uri="{FF2B5EF4-FFF2-40B4-BE49-F238E27FC236}">
                <a16:creationId xmlns:a16="http://schemas.microsoft.com/office/drawing/2014/main" id="{AE78820E-1E15-4886-B63E-97C8D4058581}"/>
              </a:ext>
            </a:extLst>
          </p:cNvPr>
          <p:cNvSpPr/>
          <p:nvPr/>
        </p:nvSpPr>
        <p:spPr bwMode="auto">
          <a:xfrm>
            <a:off x="8565983" y="4340021"/>
            <a:ext cx="142265" cy="264624"/>
          </a:xfrm>
          <a:prstGeom prst="ellipse">
            <a:avLst/>
          </a:prstGeom>
          <a:noFill/>
          <a:ln w="25400">
            <a:solidFill>
              <a:schemeClr val="accent5"/>
            </a:solidFill>
            <a:round/>
            <a:headEnd/>
            <a:tailEnd/>
          </a:ln>
        </p:spPr>
        <p:txBody>
          <a:bodyPr wrap="square" lIns="0" tIns="0" rIns="0" bIns="0" rtlCol="0" anchor="ctr">
            <a:noAutofit/>
          </a:bodyPr>
          <a:lstStyle/>
          <a:p>
            <a:pPr algn="l"/>
            <a:endParaRPr lang="en-IN" dirty="0">
              <a:solidFill>
                <a:schemeClr val="tx2"/>
              </a:solidFill>
            </a:endParaRPr>
          </a:p>
        </p:txBody>
      </p:sp>
      <p:sp>
        <p:nvSpPr>
          <p:cNvPr id="210" name="Oval 209">
            <a:extLst>
              <a:ext uri="{FF2B5EF4-FFF2-40B4-BE49-F238E27FC236}">
                <a16:creationId xmlns:a16="http://schemas.microsoft.com/office/drawing/2014/main" id="{BC42A826-215B-4FBC-A13F-F6687B5A9D23}"/>
              </a:ext>
            </a:extLst>
          </p:cNvPr>
          <p:cNvSpPr/>
          <p:nvPr/>
        </p:nvSpPr>
        <p:spPr bwMode="auto">
          <a:xfrm>
            <a:off x="4922763" y="5069717"/>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11" name="Oval 210">
            <a:extLst>
              <a:ext uri="{FF2B5EF4-FFF2-40B4-BE49-F238E27FC236}">
                <a16:creationId xmlns:a16="http://schemas.microsoft.com/office/drawing/2014/main" id="{56F3034B-7EB1-444D-AED5-7667F99A8F86}"/>
              </a:ext>
            </a:extLst>
          </p:cNvPr>
          <p:cNvSpPr/>
          <p:nvPr/>
        </p:nvSpPr>
        <p:spPr bwMode="auto">
          <a:xfrm>
            <a:off x="4922763" y="3805069"/>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8" name="Freeform: Shape 17">
            <a:extLst>
              <a:ext uri="{FF2B5EF4-FFF2-40B4-BE49-F238E27FC236}">
                <a16:creationId xmlns:a16="http://schemas.microsoft.com/office/drawing/2014/main" id="{ED029CC8-D796-4DA6-B609-22952A67A672}"/>
              </a:ext>
            </a:extLst>
          </p:cNvPr>
          <p:cNvSpPr/>
          <p:nvPr/>
        </p:nvSpPr>
        <p:spPr bwMode="auto">
          <a:xfrm>
            <a:off x="394605" y="1238758"/>
            <a:ext cx="1902070" cy="1650667"/>
          </a:xfrm>
          <a:custGeom>
            <a:avLst/>
            <a:gdLst>
              <a:gd name="connsiteX0" fmla="*/ 609251 w 2560320"/>
              <a:gd name="connsiteY0" fmla="*/ 0 h 2194558"/>
              <a:gd name="connsiteX1" fmla="*/ 2011680 w 2560320"/>
              <a:gd name="connsiteY1" fmla="*/ 0 h 2194558"/>
              <a:gd name="connsiteX2" fmla="*/ 2560320 w 2560320"/>
              <a:gd name="connsiteY2" fmla="*/ 1097279 h 2194558"/>
              <a:gd name="connsiteX3" fmla="*/ 2011680 w 2560320"/>
              <a:gd name="connsiteY3" fmla="*/ 2194558 h 2194558"/>
              <a:gd name="connsiteX4" fmla="*/ 548640 w 2560320"/>
              <a:gd name="connsiteY4" fmla="*/ 2194558 h 2194558"/>
              <a:gd name="connsiteX5" fmla="*/ 0 w 2560320"/>
              <a:gd name="connsiteY5" fmla="*/ 1097279 h 2194558"/>
              <a:gd name="connsiteX6" fmla="*/ 320040 w 2560320"/>
              <a:gd name="connsiteY6" fmla="*/ 1097279 h 2194558"/>
              <a:gd name="connsiteX7" fmla="*/ 708660 w 2560320"/>
              <a:gd name="connsiteY7" fmla="*/ 1874519 h 2194558"/>
              <a:gd name="connsiteX8" fmla="*/ 1851660 w 2560320"/>
              <a:gd name="connsiteY8" fmla="*/ 1874519 h 2194558"/>
              <a:gd name="connsiteX9" fmla="*/ 2240280 w 2560320"/>
              <a:gd name="connsiteY9" fmla="*/ 1097279 h 2194558"/>
              <a:gd name="connsiteX10" fmla="*/ 1851660 w 2560320"/>
              <a:gd name="connsiteY10" fmla="*/ 320039 h 2194558"/>
              <a:gd name="connsiteX11" fmla="*/ 761465 w 2560320"/>
              <a:gd name="connsiteY11" fmla="*/ 320039 h 219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0320" h="2194558">
                <a:moveTo>
                  <a:pt x="609251" y="0"/>
                </a:moveTo>
                <a:lnTo>
                  <a:pt x="2011680" y="0"/>
                </a:lnTo>
                <a:lnTo>
                  <a:pt x="2560320" y="1097279"/>
                </a:lnTo>
                <a:lnTo>
                  <a:pt x="2011680" y="2194558"/>
                </a:lnTo>
                <a:lnTo>
                  <a:pt x="548640" y="2194558"/>
                </a:lnTo>
                <a:lnTo>
                  <a:pt x="0" y="1097279"/>
                </a:lnTo>
                <a:lnTo>
                  <a:pt x="320040" y="1097279"/>
                </a:lnTo>
                <a:lnTo>
                  <a:pt x="708660" y="1874519"/>
                </a:lnTo>
                <a:lnTo>
                  <a:pt x="1851660" y="1874519"/>
                </a:lnTo>
                <a:lnTo>
                  <a:pt x="2240280" y="1097279"/>
                </a:lnTo>
                <a:lnTo>
                  <a:pt x="1851660" y="320039"/>
                </a:lnTo>
                <a:lnTo>
                  <a:pt x="761465" y="320039"/>
                </a:lnTo>
                <a:close/>
              </a:path>
            </a:pathLst>
          </a:custGeom>
          <a:solidFill>
            <a:srgbClr val="03556D"/>
          </a:solidFill>
          <a:ln w="25400">
            <a:solidFill>
              <a:schemeClr val="bg1"/>
            </a:solidFill>
            <a:round/>
            <a:headEnd/>
            <a:tailEnd/>
          </a:ln>
        </p:spPr>
        <p:txBody>
          <a:bodyPr wrap="square" lIns="0" tIns="0" rIns="0" bIns="0" rtlCol="0" anchor="ctr">
            <a:noAutofit/>
          </a:bodyPr>
          <a:lstStyle/>
          <a:p>
            <a:pPr algn="l"/>
            <a:endParaRPr lang="en-IN" dirty="0">
              <a:solidFill>
                <a:schemeClr val="tx2"/>
              </a:solidFill>
            </a:endParaRPr>
          </a:p>
        </p:txBody>
      </p:sp>
      <p:sp>
        <p:nvSpPr>
          <p:cNvPr id="62" name="Freeform: Shape 61">
            <a:extLst>
              <a:ext uri="{FF2B5EF4-FFF2-40B4-BE49-F238E27FC236}">
                <a16:creationId xmlns:a16="http://schemas.microsoft.com/office/drawing/2014/main" id="{98E39112-280D-40EA-9931-452A7B006EF4}"/>
              </a:ext>
            </a:extLst>
          </p:cNvPr>
          <p:cNvSpPr/>
          <p:nvPr/>
        </p:nvSpPr>
        <p:spPr bwMode="auto">
          <a:xfrm>
            <a:off x="2017011" y="1241984"/>
            <a:ext cx="2086081" cy="1650667"/>
          </a:xfrm>
          <a:custGeom>
            <a:avLst/>
            <a:gdLst>
              <a:gd name="connsiteX0" fmla="*/ 612101 w 2005722"/>
              <a:gd name="connsiteY0" fmla="*/ 0 h 1554480"/>
              <a:gd name="connsiteX1" fmla="*/ 1613836 w 2005722"/>
              <a:gd name="connsiteY1" fmla="*/ 0 h 1554480"/>
              <a:gd name="connsiteX2" fmla="*/ 2005722 w 2005722"/>
              <a:gd name="connsiteY2" fmla="*/ 777240 h 1554480"/>
              <a:gd name="connsiteX3" fmla="*/ 1613836 w 2005722"/>
              <a:gd name="connsiteY3" fmla="*/ 1554480 h 1554480"/>
              <a:gd name="connsiteX4" fmla="*/ 568808 w 2005722"/>
              <a:gd name="connsiteY4" fmla="*/ 1554480 h 1554480"/>
              <a:gd name="connsiteX5" fmla="*/ 227349 w 2005722"/>
              <a:gd name="connsiteY5" fmla="*/ 877254 h 1554480"/>
              <a:gd name="connsiteX6" fmla="*/ 0 w 2005722"/>
              <a:gd name="connsiteY6" fmla="*/ 877254 h 1554480"/>
              <a:gd name="connsiteX7" fmla="*/ 54291 w 2005722"/>
              <a:gd name="connsiteY7" fmla="*/ 777241 h 1554480"/>
              <a:gd name="connsiteX8" fmla="*/ 0 w 2005722"/>
              <a:gd name="connsiteY8" fmla="*/ 677228 h 1554480"/>
              <a:gd name="connsiteX9" fmla="*/ 354983 w 2005722"/>
              <a:gd name="connsiteY9" fmla="*/ 677228 h 1554480"/>
              <a:gd name="connsiteX10" fmla="*/ 355597 w 2005722"/>
              <a:gd name="connsiteY10" fmla="*/ 678359 h 1554480"/>
              <a:gd name="connsiteX11" fmla="*/ 357906 w 2005722"/>
              <a:gd name="connsiteY11" fmla="*/ 677226 h 1554480"/>
              <a:gd name="connsiteX12" fmla="*/ 385407 w 2005722"/>
              <a:gd name="connsiteY12" fmla="*/ 733273 h 1554480"/>
              <a:gd name="connsiteX13" fmla="*/ 409274 w 2005722"/>
              <a:gd name="connsiteY13" fmla="*/ 777241 h 1554480"/>
              <a:gd name="connsiteX14" fmla="*/ 408069 w 2005722"/>
              <a:gd name="connsiteY14" fmla="*/ 779461 h 1554480"/>
              <a:gd name="connsiteX15" fmla="*/ 456228 w 2005722"/>
              <a:gd name="connsiteY15" fmla="*/ 877610 h 1554480"/>
              <a:gd name="connsiteX16" fmla="*/ 456148 w 2005722"/>
              <a:gd name="connsiteY16" fmla="*/ 877649 h 1554480"/>
              <a:gd name="connsiteX17" fmla="*/ 683108 w 2005722"/>
              <a:gd name="connsiteY17" fmla="*/ 1327786 h 1554480"/>
              <a:gd name="connsiteX18" fmla="*/ 1499536 w 2005722"/>
              <a:gd name="connsiteY18" fmla="*/ 1327786 h 1554480"/>
              <a:gd name="connsiteX19" fmla="*/ 1777122 w 2005722"/>
              <a:gd name="connsiteY19" fmla="*/ 777240 h 1554480"/>
              <a:gd name="connsiteX20" fmla="*/ 1499536 w 2005722"/>
              <a:gd name="connsiteY20" fmla="*/ 226695 h 1554480"/>
              <a:gd name="connsiteX21" fmla="*/ 720826 w 2005722"/>
              <a:gd name="connsiteY21" fmla="*/ 226695 h 155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05722" h="1554480">
                <a:moveTo>
                  <a:pt x="612101" y="0"/>
                </a:moveTo>
                <a:lnTo>
                  <a:pt x="1613836" y="0"/>
                </a:lnTo>
                <a:lnTo>
                  <a:pt x="2005722" y="777240"/>
                </a:lnTo>
                <a:lnTo>
                  <a:pt x="1613836" y="1554480"/>
                </a:lnTo>
                <a:lnTo>
                  <a:pt x="568808" y="1554480"/>
                </a:lnTo>
                <a:lnTo>
                  <a:pt x="227349" y="877254"/>
                </a:lnTo>
                <a:lnTo>
                  <a:pt x="0" y="877254"/>
                </a:lnTo>
                <a:lnTo>
                  <a:pt x="54291" y="777241"/>
                </a:lnTo>
                <a:lnTo>
                  <a:pt x="0" y="677228"/>
                </a:lnTo>
                <a:lnTo>
                  <a:pt x="354983" y="677228"/>
                </a:lnTo>
                <a:lnTo>
                  <a:pt x="355597" y="678359"/>
                </a:lnTo>
                <a:lnTo>
                  <a:pt x="357906" y="677226"/>
                </a:lnTo>
                <a:lnTo>
                  <a:pt x="385407" y="733273"/>
                </a:lnTo>
                <a:lnTo>
                  <a:pt x="409274" y="777241"/>
                </a:lnTo>
                <a:lnTo>
                  <a:pt x="408069" y="779461"/>
                </a:lnTo>
                <a:lnTo>
                  <a:pt x="456228" y="877610"/>
                </a:lnTo>
                <a:lnTo>
                  <a:pt x="456148" y="877649"/>
                </a:lnTo>
                <a:lnTo>
                  <a:pt x="683108" y="1327786"/>
                </a:lnTo>
                <a:lnTo>
                  <a:pt x="1499536" y="1327786"/>
                </a:lnTo>
                <a:lnTo>
                  <a:pt x="1777122" y="777240"/>
                </a:lnTo>
                <a:lnTo>
                  <a:pt x="1499536" y="226695"/>
                </a:lnTo>
                <a:lnTo>
                  <a:pt x="720826" y="226695"/>
                </a:lnTo>
                <a:close/>
              </a:path>
            </a:pathLst>
          </a:custGeom>
          <a:solidFill>
            <a:srgbClr val="03556D"/>
          </a:solidFill>
          <a:ln w="25400">
            <a:solidFill>
              <a:schemeClr val="bg1"/>
            </a:solidFill>
            <a:round/>
            <a:headEnd/>
            <a:tailEnd/>
          </a:ln>
        </p:spPr>
        <p:txBody>
          <a:bodyPr wrap="square" lIns="0" tIns="0" rIns="0" bIns="0" rtlCol="0" anchor="ctr">
            <a:noAutofit/>
          </a:bodyPr>
          <a:lstStyle/>
          <a:p>
            <a:pPr algn="l"/>
            <a:endParaRPr lang="en-IN" dirty="0">
              <a:solidFill>
                <a:schemeClr val="tx2"/>
              </a:solidFill>
            </a:endParaRPr>
          </a:p>
        </p:txBody>
      </p:sp>
      <p:sp>
        <p:nvSpPr>
          <p:cNvPr id="64" name="Freeform: Shape 63">
            <a:extLst>
              <a:ext uri="{FF2B5EF4-FFF2-40B4-BE49-F238E27FC236}">
                <a16:creationId xmlns:a16="http://schemas.microsoft.com/office/drawing/2014/main" id="{7F88ABF6-7FF8-444F-AAC2-0E81A0B827D6}"/>
              </a:ext>
            </a:extLst>
          </p:cNvPr>
          <p:cNvSpPr/>
          <p:nvPr/>
        </p:nvSpPr>
        <p:spPr bwMode="auto">
          <a:xfrm>
            <a:off x="3823360" y="1238758"/>
            <a:ext cx="2086081" cy="1650667"/>
          </a:xfrm>
          <a:custGeom>
            <a:avLst/>
            <a:gdLst>
              <a:gd name="connsiteX0" fmla="*/ 612101 w 2005722"/>
              <a:gd name="connsiteY0" fmla="*/ 0 h 1554480"/>
              <a:gd name="connsiteX1" fmla="*/ 1613836 w 2005722"/>
              <a:gd name="connsiteY1" fmla="*/ 0 h 1554480"/>
              <a:gd name="connsiteX2" fmla="*/ 2005722 w 2005722"/>
              <a:gd name="connsiteY2" fmla="*/ 777240 h 1554480"/>
              <a:gd name="connsiteX3" fmla="*/ 1613836 w 2005722"/>
              <a:gd name="connsiteY3" fmla="*/ 1554480 h 1554480"/>
              <a:gd name="connsiteX4" fmla="*/ 568808 w 2005722"/>
              <a:gd name="connsiteY4" fmla="*/ 1554480 h 1554480"/>
              <a:gd name="connsiteX5" fmla="*/ 227349 w 2005722"/>
              <a:gd name="connsiteY5" fmla="*/ 877254 h 1554480"/>
              <a:gd name="connsiteX6" fmla="*/ 0 w 2005722"/>
              <a:gd name="connsiteY6" fmla="*/ 877254 h 1554480"/>
              <a:gd name="connsiteX7" fmla="*/ 54291 w 2005722"/>
              <a:gd name="connsiteY7" fmla="*/ 777241 h 1554480"/>
              <a:gd name="connsiteX8" fmla="*/ 0 w 2005722"/>
              <a:gd name="connsiteY8" fmla="*/ 677228 h 1554480"/>
              <a:gd name="connsiteX9" fmla="*/ 354983 w 2005722"/>
              <a:gd name="connsiteY9" fmla="*/ 677228 h 1554480"/>
              <a:gd name="connsiteX10" fmla="*/ 355597 w 2005722"/>
              <a:gd name="connsiteY10" fmla="*/ 678359 h 1554480"/>
              <a:gd name="connsiteX11" fmla="*/ 357906 w 2005722"/>
              <a:gd name="connsiteY11" fmla="*/ 677226 h 1554480"/>
              <a:gd name="connsiteX12" fmla="*/ 385407 w 2005722"/>
              <a:gd name="connsiteY12" fmla="*/ 733273 h 1554480"/>
              <a:gd name="connsiteX13" fmla="*/ 409274 w 2005722"/>
              <a:gd name="connsiteY13" fmla="*/ 777241 h 1554480"/>
              <a:gd name="connsiteX14" fmla="*/ 408069 w 2005722"/>
              <a:gd name="connsiteY14" fmla="*/ 779461 h 1554480"/>
              <a:gd name="connsiteX15" fmla="*/ 456228 w 2005722"/>
              <a:gd name="connsiteY15" fmla="*/ 877610 h 1554480"/>
              <a:gd name="connsiteX16" fmla="*/ 456148 w 2005722"/>
              <a:gd name="connsiteY16" fmla="*/ 877649 h 1554480"/>
              <a:gd name="connsiteX17" fmla="*/ 683108 w 2005722"/>
              <a:gd name="connsiteY17" fmla="*/ 1327786 h 1554480"/>
              <a:gd name="connsiteX18" fmla="*/ 1499536 w 2005722"/>
              <a:gd name="connsiteY18" fmla="*/ 1327786 h 1554480"/>
              <a:gd name="connsiteX19" fmla="*/ 1777122 w 2005722"/>
              <a:gd name="connsiteY19" fmla="*/ 777240 h 1554480"/>
              <a:gd name="connsiteX20" fmla="*/ 1499536 w 2005722"/>
              <a:gd name="connsiteY20" fmla="*/ 226695 h 1554480"/>
              <a:gd name="connsiteX21" fmla="*/ 720826 w 2005722"/>
              <a:gd name="connsiteY21" fmla="*/ 226695 h 155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05722" h="1554480">
                <a:moveTo>
                  <a:pt x="612101" y="0"/>
                </a:moveTo>
                <a:lnTo>
                  <a:pt x="1613836" y="0"/>
                </a:lnTo>
                <a:lnTo>
                  <a:pt x="2005722" y="777240"/>
                </a:lnTo>
                <a:lnTo>
                  <a:pt x="1613836" y="1554480"/>
                </a:lnTo>
                <a:lnTo>
                  <a:pt x="568808" y="1554480"/>
                </a:lnTo>
                <a:lnTo>
                  <a:pt x="227349" y="877254"/>
                </a:lnTo>
                <a:lnTo>
                  <a:pt x="0" y="877254"/>
                </a:lnTo>
                <a:lnTo>
                  <a:pt x="54291" y="777241"/>
                </a:lnTo>
                <a:lnTo>
                  <a:pt x="0" y="677228"/>
                </a:lnTo>
                <a:lnTo>
                  <a:pt x="354983" y="677228"/>
                </a:lnTo>
                <a:lnTo>
                  <a:pt x="355597" y="678359"/>
                </a:lnTo>
                <a:lnTo>
                  <a:pt x="357906" y="677226"/>
                </a:lnTo>
                <a:lnTo>
                  <a:pt x="385407" y="733273"/>
                </a:lnTo>
                <a:lnTo>
                  <a:pt x="409274" y="777241"/>
                </a:lnTo>
                <a:lnTo>
                  <a:pt x="408069" y="779461"/>
                </a:lnTo>
                <a:lnTo>
                  <a:pt x="456228" y="877610"/>
                </a:lnTo>
                <a:lnTo>
                  <a:pt x="456148" y="877649"/>
                </a:lnTo>
                <a:lnTo>
                  <a:pt x="683108" y="1327786"/>
                </a:lnTo>
                <a:lnTo>
                  <a:pt x="1499536" y="1327786"/>
                </a:lnTo>
                <a:lnTo>
                  <a:pt x="1777122" y="777240"/>
                </a:lnTo>
                <a:lnTo>
                  <a:pt x="1499536" y="226695"/>
                </a:lnTo>
                <a:lnTo>
                  <a:pt x="720826" y="226695"/>
                </a:lnTo>
                <a:close/>
              </a:path>
            </a:pathLst>
          </a:custGeom>
          <a:solidFill>
            <a:srgbClr val="03556D"/>
          </a:solidFill>
          <a:ln w="25400">
            <a:solidFill>
              <a:schemeClr val="bg1"/>
            </a:solidFill>
            <a:round/>
            <a:headEnd/>
            <a:tailEnd/>
          </a:ln>
        </p:spPr>
        <p:txBody>
          <a:bodyPr wrap="square" lIns="0" tIns="0" rIns="0" bIns="0" rtlCol="0" anchor="ctr">
            <a:noAutofit/>
          </a:bodyPr>
          <a:lstStyle/>
          <a:p>
            <a:pPr algn="l"/>
            <a:endParaRPr lang="en-IN" dirty="0">
              <a:solidFill>
                <a:schemeClr val="tx2"/>
              </a:solidFill>
            </a:endParaRPr>
          </a:p>
        </p:txBody>
      </p:sp>
      <p:sp>
        <p:nvSpPr>
          <p:cNvPr id="66" name="Freeform: Shape 65">
            <a:extLst>
              <a:ext uri="{FF2B5EF4-FFF2-40B4-BE49-F238E27FC236}">
                <a16:creationId xmlns:a16="http://schemas.microsoft.com/office/drawing/2014/main" id="{598715F5-8B3F-4A54-800A-CA9EE7F38B5A}"/>
              </a:ext>
            </a:extLst>
          </p:cNvPr>
          <p:cNvSpPr/>
          <p:nvPr/>
        </p:nvSpPr>
        <p:spPr bwMode="auto">
          <a:xfrm>
            <a:off x="5619152" y="1235532"/>
            <a:ext cx="2086081" cy="1650667"/>
          </a:xfrm>
          <a:custGeom>
            <a:avLst/>
            <a:gdLst>
              <a:gd name="connsiteX0" fmla="*/ 612101 w 2005722"/>
              <a:gd name="connsiteY0" fmla="*/ 0 h 1554480"/>
              <a:gd name="connsiteX1" fmla="*/ 1613836 w 2005722"/>
              <a:gd name="connsiteY1" fmla="*/ 0 h 1554480"/>
              <a:gd name="connsiteX2" fmla="*/ 2005722 w 2005722"/>
              <a:gd name="connsiteY2" fmla="*/ 777240 h 1554480"/>
              <a:gd name="connsiteX3" fmla="*/ 1613836 w 2005722"/>
              <a:gd name="connsiteY3" fmla="*/ 1554480 h 1554480"/>
              <a:gd name="connsiteX4" fmla="*/ 568808 w 2005722"/>
              <a:gd name="connsiteY4" fmla="*/ 1554480 h 1554480"/>
              <a:gd name="connsiteX5" fmla="*/ 227349 w 2005722"/>
              <a:gd name="connsiteY5" fmla="*/ 877254 h 1554480"/>
              <a:gd name="connsiteX6" fmla="*/ 0 w 2005722"/>
              <a:gd name="connsiteY6" fmla="*/ 877254 h 1554480"/>
              <a:gd name="connsiteX7" fmla="*/ 54291 w 2005722"/>
              <a:gd name="connsiteY7" fmla="*/ 777241 h 1554480"/>
              <a:gd name="connsiteX8" fmla="*/ 0 w 2005722"/>
              <a:gd name="connsiteY8" fmla="*/ 677228 h 1554480"/>
              <a:gd name="connsiteX9" fmla="*/ 354983 w 2005722"/>
              <a:gd name="connsiteY9" fmla="*/ 677228 h 1554480"/>
              <a:gd name="connsiteX10" fmla="*/ 355597 w 2005722"/>
              <a:gd name="connsiteY10" fmla="*/ 678359 h 1554480"/>
              <a:gd name="connsiteX11" fmla="*/ 357906 w 2005722"/>
              <a:gd name="connsiteY11" fmla="*/ 677226 h 1554480"/>
              <a:gd name="connsiteX12" fmla="*/ 385407 w 2005722"/>
              <a:gd name="connsiteY12" fmla="*/ 733273 h 1554480"/>
              <a:gd name="connsiteX13" fmla="*/ 409274 w 2005722"/>
              <a:gd name="connsiteY13" fmla="*/ 777241 h 1554480"/>
              <a:gd name="connsiteX14" fmla="*/ 408069 w 2005722"/>
              <a:gd name="connsiteY14" fmla="*/ 779461 h 1554480"/>
              <a:gd name="connsiteX15" fmla="*/ 456228 w 2005722"/>
              <a:gd name="connsiteY15" fmla="*/ 877610 h 1554480"/>
              <a:gd name="connsiteX16" fmla="*/ 456148 w 2005722"/>
              <a:gd name="connsiteY16" fmla="*/ 877649 h 1554480"/>
              <a:gd name="connsiteX17" fmla="*/ 683108 w 2005722"/>
              <a:gd name="connsiteY17" fmla="*/ 1327786 h 1554480"/>
              <a:gd name="connsiteX18" fmla="*/ 1499536 w 2005722"/>
              <a:gd name="connsiteY18" fmla="*/ 1327786 h 1554480"/>
              <a:gd name="connsiteX19" fmla="*/ 1777122 w 2005722"/>
              <a:gd name="connsiteY19" fmla="*/ 777240 h 1554480"/>
              <a:gd name="connsiteX20" fmla="*/ 1499536 w 2005722"/>
              <a:gd name="connsiteY20" fmla="*/ 226695 h 1554480"/>
              <a:gd name="connsiteX21" fmla="*/ 720826 w 2005722"/>
              <a:gd name="connsiteY21" fmla="*/ 226695 h 155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05722" h="1554480">
                <a:moveTo>
                  <a:pt x="612101" y="0"/>
                </a:moveTo>
                <a:lnTo>
                  <a:pt x="1613836" y="0"/>
                </a:lnTo>
                <a:lnTo>
                  <a:pt x="2005722" y="777240"/>
                </a:lnTo>
                <a:lnTo>
                  <a:pt x="1613836" y="1554480"/>
                </a:lnTo>
                <a:lnTo>
                  <a:pt x="568808" y="1554480"/>
                </a:lnTo>
                <a:lnTo>
                  <a:pt x="227349" y="877254"/>
                </a:lnTo>
                <a:lnTo>
                  <a:pt x="0" y="877254"/>
                </a:lnTo>
                <a:lnTo>
                  <a:pt x="54291" y="777241"/>
                </a:lnTo>
                <a:lnTo>
                  <a:pt x="0" y="677228"/>
                </a:lnTo>
                <a:lnTo>
                  <a:pt x="354983" y="677228"/>
                </a:lnTo>
                <a:lnTo>
                  <a:pt x="355597" y="678359"/>
                </a:lnTo>
                <a:lnTo>
                  <a:pt x="357906" y="677226"/>
                </a:lnTo>
                <a:lnTo>
                  <a:pt x="385407" y="733273"/>
                </a:lnTo>
                <a:lnTo>
                  <a:pt x="409274" y="777241"/>
                </a:lnTo>
                <a:lnTo>
                  <a:pt x="408069" y="779461"/>
                </a:lnTo>
                <a:lnTo>
                  <a:pt x="456228" y="877610"/>
                </a:lnTo>
                <a:lnTo>
                  <a:pt x="456148" y="877649"/>
                </a:lnTo>
                <a:lnTo>
                  <a:pt x="683108" y="1327786"/>
                </a:lnTo>
                <a:lnTo>
                  <a:pt x="1499536" y="1327786"/>
                </a:lnTo>
                <a:lnTo>
                  <a:pt x="1777122" y="777240"/>
                </a:lnTo>
                <a:lnTo>
                  <a:pt x="1499536" y="226695"/>
                </a:lnTo>
                <a:lnTo>
                  <a:pt x="720826" y="226695"/>
                </a:lnTo>
                <a:close/>
              </a:path>
            </a:pathLst>
          </a:custGeom>
          <a:solidFill>
            <a:srgbClr val="03556D"/>
          </a:solidFill>
          <a:ln w="25400">
            <a:solidFill>
              <a:schemeClr val="bg1"/>
            </a:solidFill>
            <a:round/>
            <a:headEnd/>
            <a:tailEnd/>
          </a:ln>
        </p:spPr>
        <p:txBody>
          <a:bodyPr wrap="square" lIns="0" tIns="0" rIns="0" bIns="0" rtlCol="0" anchor="ctr">
            <a:noAutofit/>
          </a:bodyPr>
          <a:lstStyle/>
          <a:p>
            <a:pPr algn="l"/>
            <a:endParaRPr lang="en-IN" dirty="0">
              <a:solidFill>
                <a:schemeClr val="tx2"/>
              </a:solidFill>
            </a:endParaRPr>
          </a:p>
        </p:txBody>
      </p:sp>
      <p:sp>
        <p:nvSpPr>
          <p:cNvPr id="67" name="Freeform: Shape 66">
            <a:extLst>
              <a:ext uri="{FF2B5EF4-FFF2-40B4-BE49-F238E27FC236}">
                <a16:creationId xmlns:a16="http://schemas.microsoft.com/office/drawing/2014/main" id="{0BBE25DB-781A-4E85-84A2-B0D2CA7B5F47}"/>
              </a:ext>
            </a:extLst>
          </p:cNvPr>
          <p:cNvSpPr/>
          <p:nvPr/>
        </p:nvSpPr>
        <p:spPr bwMode="auto">
          <a:xfrm>
            <a:off x="7419504" y="1232306"/>
            <a:ext cx="2086081" cy="1650667"/>
          </a:xfrm>
          <a:custGeom>
            <a:avLst/>
            <a:gdLst>
              <a:gd name="connsiteX0" fmla="*/ 612101 w 2005722"/>
              <a:gd name="connsiteY0" fmla="*/ 0 h 1554480"/>
              <a:gd name="connsiteX1" fmla="*/ 1613836 w 2005722"/>
              <a:gd name="connsiteY1" fmla="*/ 0 h 1554480"/>
              <a:gd name="connsiteX2" fmla="*/ 2005722 w 2005722"/>
              <a:gd name="connsiteY2" fmla="*/ 777240 h 1554480"/>
              <a:gd name="connsiteX3" fmla="*/ 1613836 w 2005722"/>
              <a:gd name="connsiteY3" fmla="*/ 1554480 h 1554480"/>
              <a:gd name="connsiteX4" fmla="*/ 568808 w 2005722"/>
              <a:gd name="connsiteY4" fmla="*/ 1554480 h 1554480"/>
              <a:gd name="connsiteX5" fmla="*/ 227349 w 2005722"/>
              <a:gd name="connsiteY5" fmla="*/ 877254 h 1554480"/>
              <a:gd name="connsiteX6" fmla="*/ 0 w 2005722"/>
              <a:gd name="connsiteY6" fmla="*/ 877254 h 1554480"/>
              <a:gd name="connsiteX7" fmla="*/ 54291 w 2005722"/>
              <a:gd name="connsiteY7" fmla="*/ 777241 h 1554480"/>
              <a:gd name="connsiteX8" fmla="*/ 0 w 2005722"/>
              <a:gd name="connsiteY8" fmla="*/ 677228 h 1554480"/>
              <a:gd name="connsiteX9" fmla="*/ 354983 w 2005722"/>
              <a:gd name="connsiteY9" fmla="*/ 677228 h 1554480"/>
              <a:gd name="connsiteX10" fmla="*/ 355597 w 2005722"/>
              <a:gd name="connsiteY10" fmla="*/ 678359 h 1554480"/>
              <a:gd name="connsiteX11" fmla="*/ 357906 w 2005722"/>
              <a:gd name="connsiteY11" fmla="*/ 677226 h 1554480"/>
              <a:gd name="connsiteX12" fmla="*/ 385407 w 2005722"/>
              <a:gd name="connsiteY12" fmla="*/ 733273 h 1554480"/>
              <a:gd name="connsiteX13" fmla="*/ 409274 w 2005722"/>
              <a:gd name="connsiteY13" fmla="*/ 777241 h 1554480"/>
              <a:gd name="connsiteX14" fmla="*/ 408069 w 2005722"/>
              <a:gd name="connsiteY14" fmla="*/ 779461 h 1554480"/>
              <a:gd name="connsiteX15" fmla="*/ 456228 w 2005722"/>
              <a:gd name="connsiteY15" fmla="*/ 877610 h 1554480"/>
              <a:gd name="connsiteX16" fmla="*/ 456148 w 2005722"/>
              <a:gd name="connsiteY16" fmla="*/ 877649 h 1554480"/>
              <a:gd name="connsiteX17" fmla="*/ 683108 w 2005722"/>
              <a:gd name="connsiteY17" fmla="*/ 1327786 h 1554480"/>
              <a:gd name="connsiteX18" fmla="*/ 1499536 w 2005722"/>
              <a:gd name="connsiteY18" fmla="*/ 1327786 h 1554480"/>
              <a:gd name="connsiteX19" fmla="*/ 1777122 w 2005722"/>
              <a:gd name="connsiteY19" fmla="*/ 777240 h 1554480"/>
              <a:gd name="connsiteX20" fmla="*/ 1499536 w 2005722"/>
              <a:gd name="connsiteY20" fmla="*/ 226695 h 1554480"/>
              <a:gd name="connsiteX21" fmla="*/ 720826 w 2005722"/>
              <a:gd name="connsiteY21" fmla="*/ 226695 h 155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05722" h="1554480">
                <a:moveTo>
                  <a:pt x="612101" y="0"/>
                </a:moveTo>
                <a:lnTo>
                  <a:pt x="1613836" y="0"/>
                </a:lnTo>
                <a:lnTo>
                  <a:pt x="2005722" y="777240"/>
                </a:lnTo>
                <a:lnTo>
                  <a:pt x="1613836" y="1554480"/>
                </a:lnTo>
                <a:lnTo>
                  <a:pt x="568808" y="1554480"/>
                </a:lnTo>
                <a:lnTo>
                  <a:pt x="227349" y="877254"/>
                </a:lnTo>
                <a:lnTo>
                  <a:pt x="0" y="877254"/>
                </a:lnTo>
                <a:lnTo>
                  <a:pt x="54291" y="777241"/>
                </a:lnTo>
                <a:lnTo>
                  <a:pt x="0" y="677228"/>
                </a:lnTo>
                <a:lnTo>
                  <a:pt x="354983" y="677228"/>
                </a:lnTo>
                <a:lnTo>
                  <a:pt x="355597" y="678359"/>
                </a:lnTo>
                <a:lnTo>
                  <a:pt x="357906" y="677226"/>
                </a:lnTo>
                <a:lnTo>
                  <a:pt x="385407" y="733273"/>
                </a:lnTo>
                <a:lnTo>
                  <a:pt x="409274" y="777241"/>
                </a:lnTo>
                <a:lnTo>
                  <a:pt x="408069" y="779461"/>
                </a:lnTo>
                <a:lnTo>
                  <a:pt x="456228" y="877610"/>
                </a:lnTo>
                <a:lnTo>
                  <a:pt x="456148" y="877649"/>
                </a:lnTo>
                <a:lnTo>
                  <a:pt x="683108" y="1327786"/>
                </a:lnTo>
                <a:lnTo>
                  <a:pt x="1499536" y="1327786"/>
                </a:lnTo>
                <a:lnTo>
                  <a:pt x="1777122" y="777240"/>
                </a:lnTo>
                <a:lnTo>
                  <a:pt x="1499536" y="226695"/>
                </a:lnTo>
                <a:lnTo>
                  <a:pt x="720826" y="226695"/>
                </a:lnTo>
                <a:close/>
              </a:path>
            </a:pathLst>
          </a:custGeom>
          <a:solidFill>
            <a:srgbClr val="03556D"/>
          </a:solidFill>
          <a:ln w="25400">
            <a:solidFill>
              <a:schemeClr val="bg1"/>
            </a:solidFill>
            <a:round/>
            <a:headEnd/>
            <a:tailEnd/>
          </a:ln>
        </p:spPr>
        <p:txBody>
          <a:bodyPr wrap="square" lIns="0" tIns="0" rIns="0" bIns="0" rtlCol="0" anchor="ctr">
            <a:noAutofit/>
          </a:bodyPr>
          <a:lstStyle/>
          <a:p>
            <a:pPr algn="l"/>
            <a:endParaRPr lang="en-IN" dirty="0">
              <a:solidFill>
                <a:schemeClr val="tx2"/>
              </a:solidFill>
            </a:endParaRPr>
          </a:p>
        </p:txBody>
      </p:sp>
      <p:sp>
        <p:nvSpPr>
          <p:cNvPr id="69" name="Block Arc 68">
            <a:extLst>
              <a:ext uri="{FF2B5EF4-FFF2-40B4-BE49-F238E27FC236}">
                <a16:creationId xmlns:a16="http://schemas.microsoft.com/office/drawing/2014/main" id="{9C0A8B3C-5C04-42F7-AFE8-E426EF6E315D}"/>
              </a:ext>
            </a:extLst>
          </p:cNvPr>
          <p:cNvSpPr/>
          <p:nvPr/>
        </p:nvSpPr>
        <p:spPr bwMode="auto">
          <a:xfrm rot="520998" flipV="1">
            <a:off x="3088696" y="2780678"/>
            <a:ext cx="190207" cy="194196"/>
          </a:xfrm>
          <a:prstGeom prst="blockArc">
            <a:avLst>
              <a:gd name="adj1" fmla="val 10939486"/>
              <a:gd name="adj2" fmla="val 815107"/>
              <a:gd name="adj3" fmla="val 15470"/>
            </a:avLst>
          </a:pr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70" name="Block Arc 69">
            <a:extLst>
              <a:ext uri="{FF2B5EF4-FFF2-40B4-BE49-F238E27FC236}">
                <a16:creationId xmlns:a16="http://schemas.microsoft.com/office/drawing/2014/main" id="{7506BDB4-6A4F-4D7A-9FD0-6A2235FB24C4}"/>
              </a:ext>
            </a:extLst>
          </p:cNvPr>
          <p:cNvSpPr/>
          <p:nvPr/>
        </p:nvSpPr>
        <p:spPr bwMode="auto">
          <a:xfrm rot="520998" flipV="1">
            <a:off x="1278674" y="2780678"/>
            <a:ext cx="190207" cy="194196"/>
          </a:xfrm>
          <a:prstGeom prst="blockArc">
            <a:avLst>
              <a:gd name="adj1" fmla="val 10939486"/>
              <a:gd name="adj2" fmla="val 815107"/>
              <a:gd name="adj3" fmla="val 15470"/>
            </a:avLst>
          </a:pr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71" name="Block Arc 70">
            <a:extLst>
              <a:ext uri="{FF2B5EF4-FFF2-40B4-BE49-F238E27FC236}">
                <a16:creationId xmlns:a16="http://schemas.microsoft.com/office/drawing/2014/main" id="{E4A2CCF1-C500-461F-AD79-C65AF4B4E12B}"/>
              </a:ext>
            </a:extLst>
          </p:cNvPr>
          <p:cNvSpPr/>
          <p:nvPr/>
        </p:nvSpPr>
        <p:spPr bwMode="auto">
          <a:xfrm rot="520998" flipV="1">
            <a:off x="6708741" y="2774230"/>
            <a:ext cx="190207" cy="194196"/>
          </a:xfrm>
          <a:prstGeom prst="blockArc">
            <a:avLst>
              <a:gd name="adj1" fmla="val 10939486"/>
              <a:gd name="adj2" fmla="val 815107"/>
              <a:gd name="adj3" fmla="val 15470"/>
            </a:avLst>
          </a:pr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72" name="Block Arc 71">
            <a:extLst>
              <a:ext uri="{FF2B5EF4-FFF2-40B4-BE49-F238E27FC236}">
                <a16:creationId xmlns:a16="http://schemas.microsoft.com/office/drawing/2014/main" id="{5016445A-82BE-456B-B1E9-99BCAB075A86}"/>
              </a:ext>
            </a:extLst>
          </p:cNvPr>
          <p:cNvSpPr/>
          <p:nvPr/>
        </p:nvSpPr>
        <p:spPr bwMode="auto">
          <a:xfrm rot="520998" flipV="1">
            <a:off x="4898719" y="2780679"/>
            <a:ext cx="190207" cy="194196"/>
          </a:xfrm>
          <a:prstGeom prst="blockArc">
            <a:avLst>
              <a:gd name="adj1" fmla="val 10939486"/>
              <a:gd name="adj2" fmla="val 815107"/>
              <a:gd name="adj3" fmla="val 15470"/>
            </a:avLst>
          </a:pr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73" name="Block Arc 72">
            <a:extLst>
              <a:ext uri="{FF2B5EF4-FFF2-40B4-BE49-F238E27FC236}">
                <a16:creationId xmlns:a16="http://schemas.microsoft.com/office/drawing/2014/main" id="{A8A498DE-7042-450B-9440-83EF7D4D69D9}"/>
              </a:ext>
            </a:extLst>
          </p:cNvPr>
          <p:cNvSpPr/>
          <p:nvPr/>
        </p:nvSpPr>
        <p:spPr bwMode="auto">
          <a:xfrm rot="520998" flipV="1">
            <a:off x="8519425" y="2771984"/>
            <a:ext cx="190207" cy="194196"/>
          </a:xfrm>
          <a:prstGeom prst="blockArc">
            <a:avLst>
              <a:gd name="adj1" fmla="val 10939486"/>
              <a:gd name="adj2" fmla="val 815107"/>
              <a:gd name="adj3" fmla="val 15470"/>
            </a:avLst>
          </a:pr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75" name="Oval 74">
            <a:extLst>
              <a:ext uri="{FF2B5EF4-FFF2-40B4-BE49-F238E27FC236}">
                <a16:creationId xmlns:a16="http://schemas.microsoft.com/office/drawing/2014/main" id="{7166FCC3-01D8-43CE-84F2-DDFD54F68F26}"/>
              </a:ext>
            </a:extLst>
          </p:cNvPr>
          <p:cNvSpPr/>
          <p:nvPr/>
        </p:nvSpPr>
        <p:spPr bwMode="auto">
          <a:xfrm>
            <a:off x="4110030" y="1211562"/>
            <a:ext cx="640080" cy="640080"/>
          </a:xfrm>
          <a:prstGeom prst="ellipse">
            <a:avLst/>
          </a:prstGeom>
          <a:solidFill>
            <a:srgbClr val="F2F2F2"/>
          </a:solidFill>
          <a:ln w="3175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33" name="Oval 132">
            <a:extLst>
              <a:ext uri="{FF2B5EF4-FFF2-40B4-BE49-F238E27FC236}">
                <a16:creationId xmlns:a16="http://schemas.microsoft.com/office/drawing/2014/main" id="{0E59E294-4D48-490A-86A2-AEDB4036F344}"/>
              </a:ext>
            </a:extLst>
          </p:cNvPr>
          <p:cNvSpPr/>
          <p:nvPr/>
        </p:nvSpPr>
        <p:spPr bwMode="auto">
          <a:xfrm>
            <a:off x="8539945" y="2920709"/>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34" name="Oval 133">
            <a:extLst>
              <a:ext uri="{FF2B5EF4-FFF2-40B4-BE49-F238E27FC236}">
                <a16:creationId xmlns:a16="http://schemas.microsoft.com/office/drawing/2014/main" id="{1D6B0AA9-3F56-46EA-89FB-39E86EE85CC9}"/>
              </a:ext>
            </a:extLst>
          </p:cNvPr>
          <p:cNvSpPr/>
          <p:nvPr/>
        </p:nvSpPr>
        <p:spPr bwMode="auto">
          <a:xfrm>
            <a:off x="6733904" y="2911825"/>
            <a:ext cx="142265" cy="259510"/>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42" name="Oval 141">
            <a:extLst>
              <a:ext uri="{FF2B5EF4-FFF2-40B4-BE49-F238E27FC236}">
                <a16:creationId xmlns:a16="http://schemas.microsoft.com/office/drawing/2014/main" id="{80725640-0843-4652-878A-907428CB3CA9}"/>
              </a:ext>
            </a:extLst>
          </p:cNvPr>
          <p:cNvSpPr/>
          <p:nvPr/>
        </p:nvSpPr>
        <p:spPr bwMode="auto">
          <a:xfrm>
            <a:off x="8557061" y="4960257"/>
            <a:ext cx="142265" cy="264624"/>
          </a:xfrm>
          <a:prstGeom prst="ellipse">
            <a:avLst/>
          </a:prstGeom>
          <a:noFill/>
          <a:ln w="25400">
            <a:solidFill>
              <a:schemeClr val="accent5"/>
            </a:solidFill>
            <a:round/>
            <a:headEnd/>
            <a:tailEnd/>
          </a:ln>
        </p:spPr>
        <p:txBody>
          <a:bodyPr wrap="square" lIns="0" tIns="0" rIns="0" bIns="0" rtlCol="0" anchor="ctr">
            <a:noAutofit/>
          </a:bodyPr>
          <a:lstStyle/>
          <a:p>
            <a:pPr algn="l"/>
            <a:endParaRPr lang="en-IN" dirty="0">
              <a:solidFill>
                <a:schemeClr val="tx2"/>
              </a:solidFill>
            </a:endParaRPr>
          </a:p>
        </p:txBody>
      </p:sp>
      <p:sp>
        <p:nvSpPr>
          <p:cNvPr id="154" name="Oval 153">
            <a:extLst>
              <a:ext uri="{FF2B5EF4-FFF2-40B4-BE49-F238E27FC236}">
                <a16:creationId xmlns:a16="http://schemas.microsoft.com/office/drawing/2014/main" id="{9E0E9165-9ECF-4CAE-979B-FAC948D72484}"/>
              </a:ext>
            </a:extLst>
          </p:cNvPr>
          <p:cNvSpPr/>
          <p:nvPr/>
        </p:nvSpPr>
        <p:spPr bwMode="auto">
          <a:xfrm>
            <a:off x="1303908" y="2920907"/>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55" name="Oval 154">
            <a:extLst>
              <a:ext uri="{FF2B5EF4-FFF2-40B4-BE49-F238E27FC236}">
                <a16:creationId xmlns:a16="http://schemas.microsoft.com/office/drawing/2014/main" id="{3FD96F06-B8C7-4CF6-A23E-B7C14D29AF90}"/>
              </a:ext>
            </a:extLst>
          </p:cNvPr>
          <p:cNvSpPr/>
          <p:nvPr/>
        </p:nvSpPr>
        <p:spPr bwMode="auto">
          <a:xfrm>
            <a:off x="1303908" y="3136348"/>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56" name="Oval 155">
            <a:extLst>
              <a:ext uri="{FF2B5EF4-FFF2-40B4-BE49-F238E27FC236}">
                <a16:creationId xmlns:a16="http://schemas.microsoft.com/office/drawing/2014/main" id="{E645CC0A-5824-4CA8-B563-31F87347236D}"/>
              </a:ext>
            </a:extLst>
          </p:cNvPr>
          <p:cNvSpPr/>
          <p:nvPr/>
        </p:nvSpPr>
        <p:spPr bwMode="auto">
          <a:xfrm>
            <a:off x="1303908" y="3363604"/>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57" name="Oval 156">
            <a:extLst>
              <a:ext uri="{FF2B5EF4-FFF2-40B4-BE49-F238E27FC236}">
                <a16:creationId xmlns:a16="http://schemas.microsoft.com/office/drawing/2014/main" id="{BD008C9A-FC8E-44AD-9E5A-1002D3F08283}"/>
              </a:ext>
            </a:extLst>
          </p:cNvPr>
          <p:cNvSpPr/>
          <p:nvPr/>
        </p:nvSpPr>
        <p:spPr bwMode="auto">
          <a:xfrm>
            <a:off x="1303908" y="3590860"/>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58" name="Oval 157">
            <a:extLst>
              <a:ext uri="{FF2B5EF4-FFF2-40B4-BE49-F238E27FC236}">
                <a16:creationId xmlns:a16="http://schemas.microsoft.com/office/drawing/2014/main" id="{BC9E7261-C0ED-4AE8-9336-DEAE0EDD177E}"/>
              </a:ext>
            </a:extLst>
          </p:cNvPr>
          <p:cNvSpPr/>
          <p:nvPr/>
        </p:nvSpPr>
        <p:spPr bwMode="auto">
          <a:xfrm>
            <a:off x="1304272" y="3818116"/>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93" name="Rectangle 92">
            <a:extLst>
              <a:ext uri="{FF2B5EF4-FFF2-40B4-BE49-F238E27FC236}">
                <a16:creationId xmlns:a16="http://schemas.microsoft.com/office/drawing/2014/main" id="{875118A6-5C04-4EA9-B5CB-4EAD90D744FE}"/>
              </a:ext>
            </a:extLst>
          </p:cNvPr>
          <p:cNvSpPr/>
          <p:nvPr/>
        </p:nvSpPr>
        <p:spPr bwMode="auto">
          <a:xfrm>
            <a:off x="607588" y="5373079"/>
            <a:ext cx="1510823" cy="914400"/>
          </a:xfrm>
          <a:prstGeom prst="rect">
            <a:avLst/>
          </a:prstGeom>
          <a:solidFill>
            <a:srgbClr val="1993C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95" name="Oval 94">
            <a:extLst>
              <a:ext uri="{FF2B5EF4-FFF2-40B4-BE49-F238E27FC236}">
                <a16:creationId xmlns:a16="http://schemas.microsoft.com/office/drawing/2014/main" id="{612B6B9F-A407-4D86-ACBA-D026DEB307FD}"/>
              </a:ext>
            </a:extLst>
          </p:cNvPr>
          <p:cNvSpPr/>
          <p:nvPr/>
        </p:nvSpPr>
        <p:spPr bwMode="auto">
          <a:xfrm>
            <a:off x="1319225" y="5393079"/>
            <a:ext cx="89604" cy="91440"/>
          </a:xfrm>
          <a:prstGeom prst="ellipse">
            <a:avLst/>
          </a:prstGeom>
          <a:solidFill>
            <a:srgbClr val="003F62"/>
          </a:solidFill>
          <a:ln w="127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59" name="Oval 158">
            <a:extLst>
              <a:ext uri="{FF2B5EF4-FFF2-40B4-BE49-F238E27FC236}">
                <a16:creationId xmlns:a16="http://schemas.microsoft.com/office/drawing/2014/main" id="{C5E14578-369F-46D1-A557-07F45A81345F}"/>
              </a:ext>
            </a:extLst>
          </p:cNvPr>
          <p:cNvSpPr/>
          <p:nvPr/>
        </p:nvSpPr>
        <p:spPr bwMode="auto">
          <a:xfrm>
            <a:off x="1291868" y="5181649"/>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00" name="Freeform: Shape 99">
            <a:extLst>
              <a:ext uri="{FF2B5EF4-FFF2-40B4-BE49-F238E27FC236}">
                <a16:creationId xmlns:a16="http://schemas.microsoft.com/office/drawing/2014/main" id="{8BC63E8D-CFFF-479E-83C5-44DC28C5D0CE}"/>
              </a:ext>
            </a:extLst>
          </p:cNvPr>
          <p:cNvSpPr/>
          <p:nvPr/>
        </p:nvSpPr>
        <p:spPr bwMode="auto">
          <a:xfrm rot="21079002" flipH="1" flipV="1">
            <a:off x="1380020" y="2880719"/>
            <a:ext cx="91885" cy="86296"/>
          </a:xfrm>
          <a:custGeom>
            <a:avLst/>
            <a:gdLst>
              <a:gd name="connsiteX0" fmla="*/ 0 w 91885"/>
              <a:gd name="connsiteY0" fmla="*/ 85148 h 86296"/>
              <a:gd name="connsiteX1" fmla="*/ 28270 w 91885"/>
              <a:gd name="connsiteY1" fmla="*/ 86296 h 86296"/>
              <a:gd name="connsiteX2" fmla="*/ 65760 w 91885"/>
              <a:gd name="connsiteY2" fmla="*/ 31134 h 86296"/>
              <a:gd name="connsiteX3" fmla="*/ 87598 w 91885"/>
              <a:gd name="connsiteY3" fmla="*/ 28072 h 86296"/>
              <a:gd name="connsiteX4" fmla="*/ 91885 w 91885"/>
              <a:gd name="connsiteY4" fmla="*/ 0 h 86296"/>
              <a:gd name="connsiteX5" fmla="*/ 54287 w 91885"/>
              <a:gd name="connsiteY5" fmla="*/ 5272 h 86296"/>
              <a:gd name="connsiteX6" fmla="*/ 0 w 91885"/>
              <a:gd name="connsiteY6" fmla="*/ 85148 h 8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885" h="86296">
                <a:moveTo>
                  <a:pt x="0" y="85148"/>
                </a:moveTo>
                <a:lnTo>
                  <a:pt x="28270" y="86296"/>
                </a:lnTo>
                <a:cubicBezTo>
                  <a:pt x="29245" y="62271"/>
                  <a:pt x="43780" y="40884"/>
                  <a:pt x="65760" y="31134"/>
                </a:cubicBezTo>
                <a:lnTo>
                  <a:pt x="87598" y="28072"/>
                </a:lnTo>
                <a:lnTo>
                  <a:pt x="91885" y="0"/>
                </a:lnTo>
                <a:lnTo>
                  <a:pt x="54287" y="5272"/>
                </a:lnTo>
                <a:cubicBezTo>
                  <a:pt x="22460" y="19390"/>
                  <a:pt x="1412" y="50359"/>
                  <a:pt x="0" y="85148"/>
                </a:cubicBezTo>
                <a:close/>
              </a:path>
            </a:pathLst>
          </a:cu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62" name="Rectangle 161">
            <a:extLst>
              <a:ext uri="{FF2B5EF4-FFF2-40B4-BE49-F238E27FC236}">
                <a16:creationId xmlns:a16="http://schemas.microsoft.com/office/drawing/2014/main" id="{B59BB462-8B7D-4A0B-9153-004C794C2426}"/>
              </a:ext>
            </a:extLst>
          </p:cNvPr>
          <p:cNvSpPr/>
          <p:nvPr/>
        </p:nvSpPr>
        <p:spPr bwMode="auto">
          <a:xfrm>
            <a:off x="2465352" y="3979837"/>
            <a:ext cx="1432714" cy="914400"/>
          </a:xfrm>
          <a:prstGeom prst="rect">
            <a:avLst/>
          </a:prstGeom>
          <a:solidFill>
            <a:srgbClr val="1993C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63" name="Oval 162">
            <a:extLst>
              <a:ext uri="{FF2B5EF4-FFF2-40B4-BE49-F238E27FC236}">
                <a16:creationId xmlns:a16="http://schemas.microsoft.com/office/drawing/2014/main" id="{64D26E4F-5928-40CD-B237-0C0E4B1AEADE}"/>
              </a:ext>
            </a:extLst>
          </p:cNvPr>
          <p:cNvSpPr/>
          <p:nvPr/>
        </p:nvSpPr>
        <p:spPr bwMode="auto">
          <a:xfrm>
            <a:off x="3136907" y="3974094"/>
            <a:ext cx="89604" cy="91440"/>
          </a:xfrm>
          <a:prstGeom prst="ellipse">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64" name="Oval 163">
            <a:extLst>
              <a:ext uri="{FF2B5EF4-FFF2-40B4-BE49-F238E27FC236}">
                <a16:creationId xmlns:a16="http://schemas.microsoft.com/office/drawing/2014/main" id="{AFC5C42E-EAFD-4285-9E4B-29338EED7350}"/>
              </a:ext>
            </a:extLst>
          </p:cNvPr>
          <p:cNvSpPr/>
          <p:nvPr/>
        </p:nvSpPr>
        <p:spPr bwMode="auto">
          <a:xfrm>
            <a:off x="3110578" y="3759738"/>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66" name="Rectangle 165">
            <a:extLst>
              <a:ext uri="{FF2B5EF4-FFF2-40B4-BE49-F238E27FC236}">
                <a16:creationId xmlns:a16="http://schemas.microsoft.com/office/drawing/2014/main" id="{4CF25BBA-AE99-4B44-A979-72C79E7907D5}"/>
              </a:ext>
            </a:extLst>
          </p:cNvPr>
          <p:cNvSpPr/>
          <p:nvPr/>
        </p:nvSpPr>
        <p:spPr bwMode="auto">
          <a:xfrm>
            <a:off x="7894720" y="3550680"/>
            <a:ext cx="1432714" cy="914400"/>
          </a:xfrm>
          <a:prstGeom prst="rect">
            <a:avLst/>
          </a:prstGeom>
          <a:solidFill>
            <a:srgbClr val="1993C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67" name="Oval 166">
            <a:extLst>
              <a:ext uri="{FF2B5EF4-FFF2-40B4-BE49-F238E27FC236}">
                <a16:creationId xmlns:a16="http://schemas.microsoft.com/office/drawing/2014/main" id="{7341BB9D-7DAD-4319-8504-40709115AEC4}"/>
              </a:ext>
            </a:extLst>
          </p:cNvPr>
          <p:cNvSpPr/>
          <p:nvPr/>
        </p:nvSpPr>
        <p:spPr bwMode="auto">
          <a:xfrm>
            <a:off x="8566275" y="3544937"/>
            <a:ext cx="89604" cy="91440"/>
          </a:xfrm>
          <a:prstGeom prst="ellipse">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68" name="Oval 167">
            <a:extLst>
              <a:ext uri="{FF2B5EF4-FFF2-40B4-BE49-F238E27FC236}">
                <a16:creationId xmlns:a16="http://schemas.microsoft.com/office/drawing/2014/main" id="{E65249ED-C23A-44C3-AAC4-47DAF05FA4A2}"/>
              </a:ext>
            </a:extLst>
          </p:cNvPr>
          <p:cNvSpPr/>
          <p:nvPr/>
        </p:nvSpPr>
        <p:spPr bwMode="auto">
          <a:xfrm>
            <a:off x="8539946" y="3330581"/>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70" name="Rectangle 169">
            <a:extLst>
              <a:ext uri="{FF2B5EF4-FFF2-40B4-BE49-F238E27FC236}">
                <a16:creationId xmlns:a16="http://schemas.microsoft.com/office/drawing/2014/main" id="{7C9F7B4E-1D82-4251-B989-448FD81F521A}"/>
              </a:ext>
            </a:extLst>
          </p:cNvPr>
          <p:cNvSpPr/>
          <p:nvPr/>
        </p:nvSpPr>
        <p:spPr bwMode="auto">
          <a:xfrm>
            <a:off x="6087488" y="4358157"/>
            <a:ext cx="1432714" cy="914400"/>
          </a:xfrm>
          <a:prstGeom prst="rect">
            <a:avLst/>
          </a:prstGeom>
          <a:solidFill>
            <a:srgbClr val="1993C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71" name="Oval 170">
            <a:extLst>
              <a:ext uri="{FF2B5EF4-FFF2-40B4-BE49-F238E27FC236}">
                <a16:creationId xmlns:a16="http://schemas.microsoft.com/office/drawing/2014/main" id="{41FD48E6-589B-45B6-AB01-9D265599E975}"/>
              </a:ext>
            </a:extLst>
          </p:cNvPr>
          <p:cNvSpPr/>
          <p:nvPr/>
        </p:nvSpPr>
        <p:spPr bwMode="auto">
          <a:xfrm>
            <a:off x="6759043" y="4352414"/>
            <a:ext cx="89604" cy="91440"/>
          </a:xfrm>
          <a:prstGeom prst="ellipse">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72" name="Oval 171">
            <a:extLst>
              <a:ext uri="{FF2B5EF4-FFF2-40B4-BE49-F238E27FC236}">
                <a16:creationId xmlns:a16="http://schemas.microsoft.com/office/drawing/2014/main" id="{2A9415F1-F548-457B-9318-1909ABA30B45}"/>
              </a:ext>
            </a:extLst>
          </p:cNvPr>
          <p:cNvSpPr/>
          <p:nvPr/>
        </p:nvSpPr>
        <p:spPr bwMode="auto">
          <a:xfrm>
            <a:off x="6732714" y="4138058"/>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74" name="Rectangle 173">
            <a:extLst>
              <a:ext uri="{FF2B5EF4-FFF2-40B4-BE49-F238E27FC236}">
                <a16:creationId xmlns:a16="http://schemas.microsoft.com/office/drawing/2014/main" id="{77DD08EE-1487-4110-99FC-270FFF95E34E}"/>
              </a:ext>
            </a:extLst>
          </p:cNvPr>
          <p:cNvSpPr/>
          <p:nvPr/>
        </p:nvSpPr>
        <p:spPr bwMode="auto">
          <a:xfrm>
            <a:off x="7909414" y="5374774"/>
            <a:ext cx="1432714" cy="914400"/>
          </a:xfrm>
          <a:prstGeom prst="rect">
            <a:avLst/>
          </a:prstGeom>
          <a:solidFill>
            <a:srgbClr val="1993C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75" name="Oval 174">
            <a:extLst>
              <a:ext uri="{FF2B5EF4-FFF2-40B4-BE49-F238E27FC236}">
                <a16:creationId xmlns:a16="http://schemas.microsoft.com/office/drawing/2014/main" id="{529262B1-7E79-4EA9-9775-590C3F394C68}"/>
              </a:ext>
            </a:extLst>
          </p:cNvPr>
          <p:cNvSpPr/>
          <p:nvPr/>
        </p:nvSpPr>
        <p:spPr bwMode="auto">
          <a:xfrm>
            <a:off x="8580969" y="5376293"/>
            <a:ext cx="89604" cy="91440"/>
          </a:xfrm>
          <a:prstGeom prst="ellipse">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76" name="Oval 175">
            <a:extLst>
              <a:ext uri="{FF2B5EF4-FFF2-40B4-BE49-F238E27FC236}">
                <a16:creationId xmlns:a16="http://schemas.microsoft.com/office/drawing/2014/main" id="{16D9D60A-8C9A-4755-BAF6-0CF9E4D7734A}"/>
              </a:ext>
            </a:extLst>
          </p:cNvPr>
          <p:cNvSpPr/>
          <p:nvPr/>
        </p:nvSpPr>
        <p:spPr bwMode="auto">
          <a:xfrm>
            <a:off x="8554640" y="5161937"/>
            <a:ext cx="142265" cy="264624"/>
          </a:xfrm>
          <a:prstGeom prst="ellipse">
            <a:avLst/>
          </a:prstGeom>
          <a:noFill/>
          <a:ln w="25400">
            <a:solidFill>
              <a:schemeClr val="accent5"/>
            </a:solidFill>
            <a:round/>
            <a:headEnd/>
            <a:tailEnd/>
          </a:ln>
        </p:spPr>
        <p:txBody>
          <a:bodyPr wrap="square" lIns="0" tIns="0" rIns="0" bIns="0" rtlCol="0" anchor="ctr">
            <a:noAutofit/>
          </a:bodyPr>
          <a:lstStyle/>
          <a:p>
            <a:pPr algn="l"/>
            <a:endParaRPr lang="en-IN" dirty="0">
              <a:solidFill>
                <a:schemeClr val="tx2"/>
              </a:solidFill>
            </a:endParaRPr>
          </a:p>
        </p:txBody>
      </p:sp>
      <p:sp>
        <p:nvSpPr>
          <p:cNvPr id="178" name="Rectangle 177">
            <a:extLst>
              <a:ext uri="{FF2B5EF4-FFF2-40B4-BE49-F238E27FC236}">
                <a16:creationId xmlns:a16="http://schemas.microsoft.com/office/drawing/2014/main" id="{8AAEB1D4-6E69-4C37-A3D0-BE07AAD914C1}"/>
              </a:ext>
            </a:extLst>
          </p:cNvPr>
          <p:cNvSpPr/>
          <p:nvPr/>
        </p:nvSpPr>
        <p:spPr bwMode="auto">
          <a:xfrm>
            <a:off x="4333239" y="3141906"/>
            <a:ext cx="1324512" cy="769004"/>
          </a:xfrm>
          <a:prstGeom prst="rect">
            <a:avLst/>
          </a:prstGeom>
          <a:solidFill>
            <a:srgbClr val="1993C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79" name="Oval 178">
            <a:extLst>
              <a:ext uri="{FF2B5EF4-FFF2-40B4-BE49-F238E27FC236}">
                <a16:creationId xmlns:a16="http://schemas.microsoft.com/office/drawing/2014/main" id="{1A5F7215-3C1B-45E0-81A9-5EAB05317CEB}"/>
              </a:ext>
            </a:extLst>
          </p:cNvPr>
          <p:cNvSpPr/>
          <p:nvPr/>
        </p:nvSpPr>
        <p:spPr bwMode="auto">
          <a:xfrm>
            <a:off x="4951810" y="3128767"/>
            <a:ext cx="89604" cy="91440"/>
          </a:xfrm>
          <a:prstGeom prst="ellipse">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80" name="Oval 179">
            <a:extLst>
              <a:ext uri="{FF2B5EF4-FFF2-40B4-BE49-F238E27FC236}">
                <a16:creationId xmlns:a16="http://schemas.microsoft.com/office/drawing/2014/main" id="{5188BB8E-BC89-43A3-81A1-E0B082B5519B}"/>
              </a:ext>
            </a:extLst>
          </p:cNvPr>
          <p:cNvSpPr/>
          <p:nvPr/>
        </p:nvSpPr>
        <p:spPr bwMode="auto">
          <a:xfrm>
            <a:off x="4925481" y="2914411"/>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83" name="Rectangle 182">
            <a:extLst>
              <a:ext uri="{FF2B5EF4-FFF2-40B4-BE49-F238E27FC236}">
                <a16:creationId xmlns:a16="http://schemas.microsoft.com/office/drawing/2014/main" id="{AABCB08B-3B38-4F48-AB02-6D9F2100E848}"/>
              </a:ext>
            </a:extLst>
          </p:cNvPr>
          <p:cNvSpPr/>
          <p:nvPr/>
        </p:nvSpPr>
        <p:spPr bwMode="auto">
          <a:xfrm>
            <a:off x="4330521" y="4449349"/>
            <a:ext cx="1324512" cy="769004"/>
          </a:xfrm>
          <a:prstGeom prst="rect">
            <a:avLst/>
          </a:prstGeom>
          <a:solidFill>
            <a:srgbClr val="1993C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84" name="Oval 183">
            <a:extLst>
              <a:ext uri="{FF2B5EF4-FFF2-40B4-BE49-F238E27FC236}">
                <a16:creationId xmlns:a16="http://schemas.microsoft.com/office/drawing/2014/main" id="{0B06FCA1-155B-4782-BB8F-0320DEA2A1FE}"/>
              </a:ext>
            </a:extLst>
          </p:cNvPr>
          <p:cNvSpPr/>
          <p:nvPr/>
        </p:nvSpPr>
        <p:spPr bwMode="auto">
          <a:xfrm>
            <a:off x="4949092" y="4424395"/>
            <a:ext cx="89604" cy="91440"/>
          </a:xfrm>
          <a:prstGeom prst="ellipse">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85" name="Oval 184">
            <a:extLst>
              <a:ext uri="{FF2B5EF4-FFF2-40B4-BE49-F238E27FC236}">
                <a16:creationId xmlns:a16="http://schemas.microsoft.com/office/drawing/2014/main" id="{6B8B6543-44EA-4B6B-AF12-5FFC15B62546}"/>
              </a:ext>
            </a:extLst>
          </p:cNvPr>
          <p:cNvSpPr/>
          <p:nvPr/>
        </p:nvSpPr>
        <p:spPr bwMode="auto">
          <a:xfrm>
            <a:off x="4922763" y="4210039"/>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87" name="Rectangle 186">
            <a:extLst>
              <a:ext uri="{FF2B5EF4-FFF2-40B4-BE49-F238E27FC236}">
                <a16:creationId xmlns:a16="http://schemas.microsoft.com/office/drawing/2014/main" id="{BE9C413E-AFED-4136-B73F-FCDDD698CF0C}"/>
              </a:ext>
            </a:extLst>
          </p:cNvPr>
          <p:cNvSpPr/>
          <p:nvPr/>
        </p:nvSpPr>
        <p:spPr bwMode="auto">
          <a:xfrm>
            <a:off x="4330521" y="5519862"/>
            <a:ext cx="1324512" cy="769004"/>
          </a:xfrm>
          <a:prstGeom prst="rect">
            <a:avLst/>
          </a:prstGeom>
          <a:solidFill>
            <a:srgbClr val="1993C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88" name="Oval 187">
            <a:extLst>
              <a:ext uri="{FF2B5EF4-FFF2-40B4-BE49-F238E27FC236}">
                <a16:creationId xmlns:a16="http://schemas.microsoft.com/office/drawing/2014/main" id="{06998EC7-E38A-4E91-A401-19EC16E7257F}"/>
              </a:ext>
            </a:extLst>
          </p:cNvPr>
          <p:cNvSpPr/>
          <p:nvPr/>
        </p:nvSpPr>
        <p:spPr bwMode="auto">
          <a:xfrm>
            <a:off x="4949092" y="5486127"/>
            <a:ext cx="89604" cy="91440"/>
          </a:xfrm>
          <a:prstGeom prst="ellipse">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89" name="Oval 188">
            <a:extLst>
              <a:ext uri="{FF2B5EF4-FFF2-40B4-BE49-F238E27FC236}">
                <a16:creationId xmlns:a16="http://schemas.microsoft.com/office/drawing/2014/main" id="{E7065B0D-D876-413D-ADBB-3C88879B0649}"/>
              </a:ext>
            </a:extLst>
          </p:cNvPr>
          <p:cNvSpPr/>
          <p:nvPr/>
        </p:nvSpPr>
        <p:spPr bwMode="auto">
          <a:xfrm>
            <a:off x="4922763" y="5271771"/>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97" name="Oval 196">
            <a:extLst>
              <a:ext uri="{FF2B5EF4-FFF2-40B4-BE49-F238E27FC236}">
                <a16:creationId xmlns:a16="http://schemas.microsoft.com/office/drawing/2014/main" id="{4004DE07-5CA4-41BC-AA5E-A483CDE6DFAD}"/>
              </a:ext>
            </a:extLst>
          </p:cNvPr>
          <p:cNvSpPr/>
          <p:nvPr/>
        </p:nvSpPr>
        <p:spPr bwMode="auto">
          <a:xfrm>
            <a:off x="1306064" y="4045372"/>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99" name="Oval 198">
            <a:extLst>
              <a:ext uri="{FF2B5EF4-FFF2-40B4-BE49-F238E27FC236}">
                <a16:creationId xmlns:a16="http://schemas.microsoft.com/office/drawing/2014/main" id="{704FA444-A8E3-4936-B9E5-8CB5C18A92C4}"/>
              </a:ext>
            </a:extLst>
          </p:cNvPr>
          <p:cNvSpPr/>
          <p:nvPr/>
        </p:nvSpPr>
        <p:spPr bwMode="auto">
          <a:xfrm>
            <a:off x="1299091" y="4272628"/>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00" name="Oval 199">
            <a:extLst>
              <a:ext uri="{FF2B5EF4-FFF2-40B4-BE49-F238E27FC236}">
                <a16:creationId xmlns:a16="http://schemas.microsoft.com/office/drawing/2014/main" id="{1154CB33-919B-4283-BF85-90EE12D8F27C}"/>
              </a:ext>
            </a:extLst>
          </p:cNvPr>
          <p:cNvSpPr/>
          <p:nvPr/>
        </p:nvSpPr>
        <p:spPr bwMode="auto">
          <a:xfrm>
            <a:off x="1299091" y="4499884"/>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01" name="Oval 200">
            <a:extLst>
              <a:ext uri="{FF2B5EF4-FFF2-40B4-BE49-F238E27FC236}">
                <a16:creationId xmlns:a16="http://schemas.microsoft.com/office/drawing/2014/main" id="{2FFB792F-373D-496C-8407-F22A95B66CC2}"/>
              </a:ext>
            </a:extLst>
          </p:cNvPr>
          <p:cNvSpPr/>
          <p:nvPr/>
        </p:nvSpPr>
        <p:spPr bwMode="auto">
          <a:xfrm>
            <a:off x="1292247" y="4727140"/>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02" name="Oval 201">
            <a:extLst>
              <a:ext uri="{FF2B5EF4-FFF2-40B4-BE49-F238E27FC236}">
                <a16:creationId xmlns:a16="http://schemas.microsoft.com/office/drawing/2014/main" id="{CAF7538A-1020-4212-BFDE-8EB856FDB1A7}"/>
              </a:ext>
            </a:extLst>
          </p:cNvPr>
          <p:cNvSpPr/>
          <p:nvPr/>
        </p:nvSpPr>
        <p:spPr bwMode="auto">
          <a:xfrm>
            <a:off x="1299091" y="4954396"/>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04" name="Oval 203">
            <a:extLst>
              <a:ext uri="{FF2B5EF4-FFF2-40B4-BE49-F238E27FC236}">
                <a16:creationId xmlns:a16="http://schemas.microsoft.com/office/drawing/2014/main" id="{F31F88DC-D93B-4088-A04E-9FDDD0726852}"/>
              </a:ext>
            </a:extLst>
          </p:cNvPr>
          <p:cNvSpPr/>
          <p:nvPr/>
        </p:nvSpPr>
        <p:spPr bwMode="auto">
          <a:xfrm>
            <a:off x="3110577" y="2921777"/>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06" name="Oval 205">
            <a:extLst>
              <a:ext uri="{FF2B5EF4-FFF2-40B4-BE49-F238E27FC236}">
                <a16:creationId xmlns:a16="http://schemas.microsoft.com/office/drawing/2014/main" id="{6C32BC86-F21B-425E-A800-5719ACA59AC1}"/>
              </a:ext>
            </a:extLst>
          </p:cNvPr>
          <p:cNvSpPr/>
          <p:nvPr/>
        </p:nvSpPr>
        <p:spPr bwMode="auto">
          <a:xfrm>
            <a:off x="3110577" y="3119949"/>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07" name="Oval 206">
            <a:extLst>
              <a:ext uri="{FF2B5EF4-FFF2-40B4-BE49-F238E27FC236}">
                <a16:creationId xmlns:a16="http://schemas.microsoft.com/office/drawing/2014/main" id="{6D440402-C3B7-4D39-98FE-77BDAAD339BE}"/>
              </a:ext>
            </a:extLst>
          </p:cNvPr>
          <p:cNvSpPr/>
          <p:nvPr/>
        </p:nvSpPr>
        <p:spPr bwMode="auto">
          <a:xfrm>
            <a:off x="3110577" y="3334850"/>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08" name="Oval 207">
            <a:extLst>
              <a:ext uri="{FF2B5EF4-FFF2-40B4-BE49-F238E27FC236}">
                <a16:creationId xmlns:a16="http://schemas.microsoft.com/office/drawing/2014/main" id="{D1C0F422-BCBB-42F9-B3F7-46DAD3A82687}"/>
              </a:ext>
            </a:extLst>
          </p:cNvPr>
          <p:cNvSpPr/>
          <p:nvPr/>
        </p:nvSpPr>
        <p:spPr bwMode="auto">
          <a:xfrm>
            <a:off x="3110577" y="3549751"/>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13" name="Oval 212">
            <a:extLst>
              <a:ext uri="{FF2B5EF4-FFF2-40B4-BE49-F238E27FC236}">
                <a16:creationId xmlns:a16="http://schemas.microsoft.com/office/drawing/2014/main" id="{8DE37FC6-93DF-44CC-8117-6F5C3FA1BB8A}"/>
              </a:ext>
            </a:extLst>
          </p:cNvPr>
          <p:cNvSpPr/>
          <p:nvPr/>
        </p:nvSpPr>
        <p:spPr bwMode="auto">
          <a:xfrm>
            <a:off x="4925481" y="3996944"/>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14" name="Oval 213">
            <a:extLst>
              <a:ext uri="{FF2B5EF4-FFF2-40B4-BE49-F238E27FC236}">
                <a16:creationId xmlns:a16="http://schemas.microsoft.com/office/drawing/2014/main" id="{9B4F4E5A-FEB4-4BA1-AC73-C547D311A96B}"/>
              </a:ext>
            </a:extLst>
          </p:cNvPr>
          <p:cNvSpPr/>
          <p:nvPr/>
        </p:nvSpPr>
        <p:spPr bwMode="auto">
          <a:xfrm>
            <a:off x="6732714" y="3107513"/>
            <a:ext cx="142265" cy="259510"/>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15" name="Oval 214">
            <a:extLst>
              <a:ext uri="{FF2B5EF4-FFF2-40B4-BE49-F238E27FC236}">
                <a16:creationId xmlns:a16="http://schemas.microsoft.com/office/drawing/2014/main" id="{DE2A01A0-A726-4D6B-A013-BFC5799CB4F9}"/>
              </a:ext>
            </a:extLst>
          </p:cNvPr>
          <p:cNvSpPr/>
          <p:nvPr/>
        </p:nvSpPr>
        <p:spPr bwMode="auto">
          <a:xfrm>
            <a:off x="6732712" y="3315016"/>
            <a:ext cx="142265" cy="259510"/>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16" name="Oval 215">
            <a:extLst>
              <a:ext uri="{FF2B5EF4-FFF2-40B4-BE49-F238E27FC236}">
                <a16:creationId xmlns:a16="http://schemas.microsoft.com/office/drawing/2014/main" id="{7FAF4200-72AB-4865-AB35-DDD540D02810}"/>
              </a:ext>
            </a:extLst>
          </p:cNvPr>
          <p:cNvSpPr/>
          <p:nvPr/>
        </p:nvSpPr>
        <p:spPr bwMode="auto">
          <a:xfrm>
            <a:off x="6732712" y="3522519"/>
            <a:ext cx="142265" cy="259510"/>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17" name="Oval 216">
            <a:extLst>
              <a:ext uri="{FF2B5EF4-FFF2-40B4-BE49-F238E27FC236}">
                <a16:creationId xmlns:a16="http://schemas.microsoft.com/office/drawing/2014/main" id="{DBA56EB9-F801-41A5-95D2-06E15681E7BB}"/>
              </a:ext>
            </a:extLst>
          </p:cNvPr>
          <p:cNvSpPr/>
          <p:nvPr/>
        </p:nvSpPr>
        <p:spPr bwMode="auto">
          <a:xfrm>
            <a:off x="6732712" y="3730022"/>
            <a:ext cx="142265" cy="259510"/>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18" name="Oval 217">
            <a:extLst>
              <a:ext uri="{FF2B5EF4-FFF2-40B4-BE49-F238E27FC236}">
                <a16:creationId xmlns:a16="http://schemas.microsoft.com/office/drawing/2014/main" id="{D2C9B406-3EDF-4E02-B0B5-5CE510A18F2B}"/>
              </a:ext>
            </a:extLst>
          </p:cNvPr>
          <p:cNvSpPr/>
          <p:nvPr/>
        </p:nvSpPr>
        <p:spPr bwMode="auto">
          <a:xfrm>
            <a:off x="6732712" y="3937523"/>
            <a:ext cx="142265" cy="259510"/>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19" name="Oval 218">
            <a:extLst>
              <a:ext uri="{FF2B5EF4-FFF2-40B4-BE49-F238E27FC236}">
                <a16:creationId xmlns:a16="http://schemas.microsoft.com/office/drawing/2014/main" id="{9DFCDC01-2DA5-4A1B-9DB0-BFBE3999E5FA}"/>
              </a:ext>
            </a:extLst>
          </p:cNvPr>
          <p:cNvSpPr/>
          <p:nvPr/>
        </p:nvSpPr>
        <p:spPr bwMode="auto">
          <a:xfrm>
            <a:off x="8539945" y="3113409"/>
            <a:ext cx="142265" cy="264624"/>
          </a:xfrm>
          <a:prstGeom prst="ellipse">
            <a:avLst/>
          </a:prstGeom>
          <a:noFill/>
          <a:ln w="254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220" name="Oval 219">
            <a:extLst>
              <a:ext uri="{FF2B5EF4-FFF2-40B4-BE49-F238E27FC236}">
                <a16:creationId xmlns:a16="http://schemas.microsoft.com/office/drawing/2014/main" id="{17212924-0668-42DA-B187-FD2C9E2DC68A}"/>
              </a:ext>
            </a:extLst>
          </p:cNvPr>
          <p:cNvSpPr/>
          <p:nvPr/>
        </p:nvSpPr>
        <p:spPr bwMode="auto">
          <a:xfrm>
            <a:off x="8557061" y="4749368"/>
            <a:ext cx="142265" cy="264624"/>
          </a:xfrm>
          <a:prstGeom prst="ellipse">
            <a:avLst/>
          </a:prstGeom>
          <a:noFill/>
          <a:ln w="25400">
            <a:solidFill>
              <a:schemeClr val="accent5"/>
            </a:solidFill>
            <a:round/>
            <a:headEnd/>
            <a:tailEnd/>
          </a:ln>
        </p:spPr>
        <p:txBody>
          <a:bodyPr wrap="square" lIns="0" tIns="0" rIns="0" bIns="0" rtlCol="0" anchor="ctr">
            <a:noAutofit/>
          </a:bodyPr>
          <a:lstStyle/>
          <a:p>
            <a:pPr algn="l"/>
            <a:endParaRPr lang="en-IN" dirty="0">
              <a:solidFill>
                <a:schemeClr val="tx2"/>
              </a:solidFill>
            </a:endParaRPr>
          </a:p>
        </p:txBody>
      </p:sp>
      <p:sp>
        <p:nvSpPr>
          <p:cNvPr id="221" name="Oval 220">
            <a:extLst>
              <a:ext uri="{FF2B5EF4-FFF2-40B4-BE49-F238E27FC236}">
                <a16:creationId xmlns:a16="http://schemas.microsoft.com/office/drawing/2014/main" id="{C719D7BC-67F3-43C6-B70E-DD8BC3D7D6B3}"/>
              </a:ext>
            </a:extLst>
          </p:cNvPr>
          <p:cNvSpPr/>
          <p:nvPr/>
        </p:nvSpPr>
        <p:spPr bwMode="auto">
          <a:xfrm>
            <a:off x="8561522" y="4540787"/>
            <a:ext cx="142265" cy="264624"/>
          </a:xfrm>
          <a:prstGeom prst="ellipse">
            <a:avLst/>
          </a:prstGeom>
          <a:noFill/>
          <a:ln w="25400">
            <a:solidFill>
              <a:schemeClr val="accent5"/>
            </a:solidFill>
            <a:round/>
            <a:headEnd/>
            <a:tailEnd/>
          </a:ln>
        </p:spPr>
        <p:txBody>
          <a:bodyPr wrap="square" lIns="0" tIns="0" rIns="0" bIns="0" rtlCol="0" anchor="ctr">
            <a:noAutofit/>
          </a:bodyPr>
          <a:lstStyle/>
          <a:p>
            <a:pPr algn="l"/>
            <a:endParaRPr lang="en-IN" dirty="0">
              <a:solidFill>
                <a:schemeClr val="tx2"/>
              </a:solidFill>
            </a:endParaRPr>
          </a:p>
        </p:txBody>
      </p:sp>
      <p:sp>
        <p:nvSpPr>
          <p:cNvPr id="245" name="Freeform: Shape 244">
            <a:extLst>
              <a:ext uri="{FF2B5EF4-FFF2-40B4-BE49-F238E27FC236}">
                <a16:creationId xmlns:a16="http://schemas.microsoft.com/office/drawing/2014/main" id="{EE3AF2B7-F88F-49FA-B785-939437E3AFD6}"/>
              </a:ext>
            </a:extLst>
          </p:cNvPr>
          <p:cNvSpPr/>
          <p:nvPr/>
        </p:nvSpPr>
        <p:spPr bwMode="auto">
          <a:xfrm rot="21079002" flipH="1" flipV="1">
            <a:off x="3187697" y="2880720"/>
            <a:ext cx="91885" cy="86296"/>
          </a:xfrm>
          <a:custGeom>
            <a:avLst/>
            <a:gdLst>
              <a:gd name="connsiteX0" fmla="*/ 0 w 91885"/>
              <a:gd name="connsiteY0" fmla="*/ 85148 h 86296"/>
              <a:gd name="connsiteX1" fmla="*/ 28270 w 91885"/>
              <a:gd name="connsiteY1" fmla="*/ 86296 h 86296"/>
              <a:gd name="connsiteX2" fmla="*/ 65760 w 91885"/>
              <a:gd name="connsiteY2" fmla="*/ 31134 h 86296"/>
              <a:gd name="connsiteX3" fmla="*/ 87598 w 91885"/>
              <a:gd name="connsiteY3" fmla="*/ 28072 h 86296"/>
              <a:gd name="connsiteX4" fmla="*/ 91885 w 91885"/>
              <a:gd name="connsiteY4" fmla="*/ 0 h 86296"/>
              <a:gd name="connsiteX5" fmla="*/ 54287 w 91885"/>
              <a:gd name="connsiteY5" fmla="*/ 5272 h 86296"/>
              <a:gd name="connsiteX6" fmla="*/ 0 w 91885"/>
              <a:gd name="connsiteY6" fmla="*/ 85148 h 8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885" h="86296">
                <a:moveTo>
                  <a:pt x="0" y="85148"/>
                </a:moveTo>
                <a:lnTo>
                  <a:pt x="28270" y="86296"/>
                </a:lnTo>
                <a:cubicBezTo>
                  <a:pt x="29245" y="62271"/>
                  <a:pt x="43780" y="40884"/>
                  <a:pt x="65760" y="31134"/>
                </a:cubicBezTo>
                <a:lnTo>
                  <a:pt x="87598" y="28072"/>
                </a:lnTo>
                <a:lnTo>
                  <a:pt x="91885" y="0"/>
                </a:lnTo>
                <a:lnTo>
                  <a:pt x="54287" y="5272"/>
                </a:lnTo>
                <a:cubicBezTo>
                  <a:pt x="22460" y="19390"/>
                  <a:pt x="1412" y="50359"/>
                  <a:pt x="0" y="85148"/>
                </a:cubicBezTo>
                <a:close/>
              </a:path>
            </a:pathLst>
          </a:cu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246" name="Freeform: Shape 245">
            <a:extLst>
              <a:ext uri="{FF2B5EF4-FFF2-40B4-BE49-F238E27FC236}">
                <a16:creationId xmlns:a16="http://schemas.microsoft.com/office/drawing/2014/main" id="{FFE1F90F-DD5D-4BFD-A74C-9C4B6F56BDCD}"/>
              </a:ext>
            </a:extLst>
          </p:cNvPr>
          <p:cNvSpPr/>
          <p:nvPr/>
        </p:nvSpPr>
        <p:spPr bwMode="auto">
          <a:xfrm rot="21079002" flipH="1" flipV="1">
            <a:off x="5000935" y="2878814"/>
            <a:ext cx="91885" cy="86296"/>
          </a:xfrm>
          <a:custGeom>
            <a:avLst/>
            <a:gdLst>
              <a:gd name="connsiteX0" fmla="*/ 0 w 91885"/>
              <a:gd name="connsiteY0" fmla="*/ 85148 h 86296"/>
              <a:gd name="connsiteX1" fmla="*/ 28270 w 91885"/>
              <a:gd name="connsiteY1" fmla="*/ 86296 h 86296"/>
              <a:gd name="connsiteX2" fmla="*/ 65760 w 91885"/>
              <a:gd name="connsiteY2" fmla="*/ 31134 h 86296"/>
              <a:gd name="connsiteX3" fmla="*/ 87598 w 91885"/>
              <a:gd name="connsiteY3" fmla="*/ 28072 h 86296"/>
              <a:gd name="connsiteX4" fmla="*/ 91885 w 91885"/>
              <a:gd name="connsiteY4" fmla="*/ 0 h 86296"/>
              <a:gd name="connsiteX5" fmla="*/ 54287 w 91885"/>
              <a:gd name="connsiteY5" fmla="*/ 5272 h 86296"/>
              <a:gd name="connsiteX6" fmla="*/ 0 w 91885"/>
              <a:gd name="connsiteY6" fmla="*/ 85148 h 8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885" h="86296">
                <a:moveTo>
                  <a:pt x="0" y="85148"/>
                </a:moveTo>
                <a:lnTo>
                  <a:pt x="28270" y="86296"/>
                </a:lnTo>
                <a:cubicBezTo>
                  <a:pt x="29245" y="62271"/>
                  <a:pt x="43780" y="40884"/>
                  <a:pt x="65760" y="31134"/>
                </a:cubicBezTo>
                <a:lnTo>
                  <a:pt x="87598" y="28072"/>
                </a:lnTo>
                <a:lnTo>
                  <a:pt x="91885" y="0"/>
                </a:lnTo>
                <a:lnTo>
                  <a:pt x="54287" y="5272"/>
                </a:lnTo>
                <a:cubicBezTo>
                  <a:pt x="22460" y="19390"/>
                  <a:pt x="1412" y="50359"/>
                  <a:pt x="0" y="85148"/>
                </a:cubicBezTo>
                <a:close/>
              </a:path>
            </a:pathLst>
          </a:cu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247" name="Freeform: Shape 246">
            <a:extLst>
              <a:ext uri="{FF2B5EF4-FFF2-40B4-BE49-F238E27FC236}">
                <a16:creationId xmlns:a16="http://schemas.microsoft.com/office/drawing/2014/main" id="{31F26CB9-7B95-467F-BE5D-27D89B1D70FF}"/>
              </a:ext>
            </a:extLst>
          </p:cNvPr>
          <p:cNvSpPr/>
          <p:nvPr/>
        </p:nvSpPr>
        <p:spPr bwMode="auto">
          <a:xfrm flipH="1" flipV="1">
            <a:off x="6804074" y="2879913"/>
            <a:ext cx="91885" cy="86296"/>
          </a:xfrm>
          <a:custGeom>
            <a:avLst/>
            <a:gdLst>
              <a:gd name="connsiteX0" fmla="*/ 0 w 91885"/>
              <a:gd name="connsiteY0" fmla="*/ 85148 h 86296"/>
              <a:gd name="connsiteX1" fmla="*/ 28270 w 91885"/>
              <a:gd name="connsiteY1" fmla="*/ 86296 h 86296"/>
              <a:gd name="connsiteX2" fmla="*/ 65760 w 91885"/>
              <a:gd name="connsiteY2" fmla="*/ 31134 h 86296"/>
              <a:gd name="connsiteX3" fmla="*/ 87598 w 91885"/>
              <a:gd name="connsiteY3" fmla="*/ 28072 h 86296"/>
              <a:gd name="connsiteX4" fmla="*/ 91885 w 91885"/>
              <a:gd name="connsiteY4" fmla="*/ 0 h 86296"/>
              <a:gd name="connsiteX5" fmla="*/ 54287 w 91885"/>
              <a:gd name="connsiteY5" fmla="*/ 5272 h 86296"/>
              <a:gd name="connsiteX6" fmla="*/ 0 w 91885"/>
              <a:gd name="connsiteY6" fmla="*/ 85148 h 8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885" h="86296">
                <a:moveTo>
                  <a:pt x="0" y="85148"/>
                </a:moveTo>
                <a:lnTo>
                  <a:pt x="28270" y="86296"/>
                </a:lnTo>
                <a:cubicBezTo>
                  <a:pt x="29245" y="62271"/>
                  <a:pt x="43780" y="40884"/>
                  <a:pt x="65760" y="31134"/>
                </a:cubicBezTo>
                <a:lnTo>
                  <a:pt x="87598" y="28072"/>
                </a:lnTo>
                <a:lnTo>
                  <a:pt x="91885" y="0"/>
                </a:lnTo>
                <a:lnTo>
                  <a:pt x="54287" y="5272"/>
                </a:lnTo>
                <a:cubicBezTo>
                  <a:pt x="22460" y="19390"/>
                  <a:pt x="1412" y="50359"/>
                  <a:pt x="0" y="85148"/>
                </a:cubicBezTo>
                <a:close/>
              </a:path>
            </a:pathLst>
          </a:cu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250" name="Freeform: Shape 249">
            <a:extLst>
              <a:ext uri="{FF2B5EF4-FFF2-40B4-BE49-F238E27FC236}">
                <a16:creationId xmlns:a16="http://schemas.microsoft.com/office/drawing/2014/main" id="{AEBAC3D4-A865-459D-8BFA-8B22ECFE2DE2}"/>
              </a:ext>
            </a:extLst>
          </p:cNvPr>
          <p:cNvSpPr/>
          <p:nvPr/>
        </p:nvSpPr>
        <p:spPr bwMode="auto">
          <a:xfrm rot="21079002" flipH="1" flipV="1">
            <a:off x="8620821" y="2869493"/>
            <a:ext cx="91885" cy="86296"/>
          </a:xfrm>
          <a:custGeom>
            <a:avLst/>
            <a:gdLst>
              <a:gd name="connsiteX0" fmla="*/ 0 w 91885"/>
              <a:gd name="connsiteY0" fmla="*/ 85148 h 86296"/>
              <a:gd name="connsiteX1" fmla="*/ 28270 w 91885"/>
              <a:gd name="connsiteY1" fmla="*/ 86296 h 86296"/>
              <a:gd name="connsiteX2" fmla="*/ 65760 w 91885"/>
              <a:gd name="connsiteY2" fmla="*/ 31134 h 86296"/>
              <a:gd name="connsiteX3" fmla="*/ 87598 w 91885"/>
              <a:gd name="connsiteY3" fmla="*/ 28072 h 86296"/>
              <a:gd name="connsiteX4" fmla="*/ 91885 w 91885"/>
              <a:gd name="connsiteY4" fmla="*/ 0 h 86296"/>
              <a:gd name="connsiteX5" fmla="*/ 54287 w 91885"/>
              <a:gd name="connsiteY5" fmla="*/ 5272 h 86296"/>
              <a:gd name="connsiteX6" fmla="*/ 0 w 91885"/>
              <a:gd name="connsiteY6" fmla="*/ 85148 h 8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885" h="86296">
                <a:moveTo>
                  <a:pt x="0" y="85148"/>
                </a:moveTo>
                <a:lnTo>
                  <a:pt x="28270" y="86296"/>
                </a:lnTo>
                <a:cubicBezTo>
                  <a:pt x="29245" y="62271"/>
                  <a:pt x="43780" y="40884"/>
                  <a:pt x="65760" y="31134"/>
                </a:cubicBezTo>
                <a:lnTo>
                  <a:pt x="87598" y="28072"/>
                </a:lnTo>
                <a:lnTo>
                  <a:pt x="91885" y="0"/>
                </a:lnTo>
                <a:lnTo>
                  <a:pt x="54287" y="5272"/>
                </a:lnTo>
                <a:cubicBezTo>
                  <a:pt x="22460" y="19390"/>
                  <a:pt x="1412" y="50359"/>
                  <a:pt x="0" y="85148"/>
                </a:cubicBezTo>
                <a:close/>
              </a:path>
            </a:pathLst>
          </a:cu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252" name="TextBox 251">
            <a:extLst>
              <a:ext uri="{FF2B5EF4-FFF2-40B4-BE49-F238E27FC236}">
                <a16:creationId xmlns:a16="http://schemas.microsoft.com/office/drawing/2014/main" id="{8221FB77-AA7A-47C6-A3FD-AFD8B0E6E17D}"/>
              </a:ext>
            </a:extLst>
          </p:cNvPr>
          <p:cNvSpPr txBox="1"/>
          <p:nvPr/>
        </p:nvSpPr>
        <p:spPr>
          <a:xfrm>
            <a:off x="649236" y="1818191"/>
            <a:ext cx="1269422" cy="520344"/>
          </a:xfrm>
          <a:prstGeom prst="rect">
            <a:avLst/>
          </a:prstGeom>
          <a:noFill/>
        </p:spPr>
        <p:txBody>
          <a:bodyPr wrap="square" lIns="182880" tIns="182880" rIns="182880" bIns="182880" rtlCol="0">
            <a:noAutofit/>
          </a:bodyPr>
          <a:lstStyle/>
          <a:p>
            <a:r>
              <a:rPr lang="en-IN" dirty="0">
                <a:solidFill>
                  <a:srgbClr val="003F62"/>
                </a:solidFill>
                <a:latin typeface="+mn-lt"/>
              </a:rPr>
              <a:t>Stage</a:t>
            </a:r>
          </a:p>
          <a:p>
            <a:endParaRPr lang="en-IN" dirty="0">
              <a:latin typeface="+mn-lt"/>
            </a:endParaRPr>
          </a:p>
        </p:txBody>
      </p:sp>
      <p:sp>
        <p:nvSpPr>
          <p:cNvPr id="253" name="TextBox 252">
            <a:extLst>
              <a:ext uri="{FF2B5EF4-FFF2-40B4-BE49-F238E27FC236}">
                <a16:creationId xmlns:a16="http://schemas.microsoft.com/office/drawing/2014/main" id="{428AA755-6273-41C8-AE34-362D63D43AD9}"/>
              </a:ext>
            </a:extLst>
          </p:cNvPr>
          <p:cNvSpPr txBox="1"/>
          <p:nvPr/>
        </p:nvSpPr>
        <p:spPr>
          <a:xfrm>
            <a:off x="2567042" y="1783319"/>
            <a:ext cx="1371600" cy="548640"/>
          </a:xfrm>
          <a:prstGeom prst="rect">
            <a:avLst/>
          </a:prstGeom>
          <a:noFill/>
        </p:spPr>
        <p:txBody>
          <a:bodyPr wrap="square" lIns="182880" tIns="182880" rIns="182880" bIns="182880" rtlCol="0">
            <a:noAutofit/>
          </a:bodyPr>
          <a:lstStyle/>
          <a:p>
            <a:r>
              <a:rPr lang="en-IN" dirty="0">
                <a:solidFill>
                  <a:srgbClr val="003F62"/>
                </a:solidFill>
                <a:latin typeface="+mn-lt"/>
              </a:rPr>
              <a:t>Awareness</a:t>
            </a:r>
          </a:p>
          <a:p>
            <a:endParaRPr lang="en-IN" dirty="0">
              <a:latin typeface="+mn-lt"/>
            </a:endParaRPr>
          </a:p>
        </p:txBody>
      </p:sp>
      <p:sp>
        <p:nvSpPr>
          <p:cNvPr id="254" name="TextBox 253">
            <a:extLst>
              <a:ext uri="{FF2B5EF4-FFF2-40B4-BE49-F238E27FC236}">
                <a16:creationId xmlns:a16="http://schemas.microsoft.com/office/drawing/2014/main" id="{A89013B4-56EA-4866-BBD8-16BAF3089447}"/>
              </a:ext>
            </a:extLst>
          </p:cNvPr>
          <p:cNvSpPr txBox="1"/>
          <p:nvPr/>
        </p:nvSpPr>
        <p:spPr>
          <a:xfrm>
            <a:off x="4247916" y="1798925"/>
            <a:ext cx="1501684" cy="531437"/>
          </a:xfrm>
          <a:prstGeom prst="rect">
            <a:avLst/>
          </a:prstGeom>
          <a:noFill/>
        </p:spPr>
        <p:txBody>
          <a:bodyPr wrap="square" lIns="182880" tIns="182880" rIns="182880" bIns="182880" rtlCol="0">
            <a:noAutofit/>
          </a:bodyPr>
          <a:lstStyle/>
          <a:p>
            <a:r>
              <a:rPr lang="en-IN" dirty="0">
                <a:solidFill>
                  <a:srgbClr val="003F62"/>
                </a:solidFill>
                <a:latin typeface="+mn-lt"/>
              </a:rPr>
              <a:t>Consideration</a:t>
            </a:r>
          </a:p>
          <a:p>
            <a:endParaRPr lang="en-IN" dirty="0">
              <a:latin typeface="+mn-lt"/>
            </a:endParaRPr>
          </a:p>
        </p:txBody>
      </p:sp>
      <p:sp>
        <p:nvSpPr>
          <p:cNvPr id="255" name="TextBox 254">
            <a:extLst>
              <a:ext uri="{FF2B5EF4-FFF2-40B4-BE49-F238E27FC236}">
                <a16:creationId xmlns:a16="http://schemas.microsoft.com/office/drawing/2014/main" id="{D11FD2B3-BB18-454D-A7C7-D481240C6446}"/>
              </a:ext>
            </a:extLst>
          </p:cNvPr>
          <p:cNvSpPr txBox="1"/>
          <p:nvPr/>
        </p:nvSpPr>
        <p:spPr>
          <a:xfrm>
            <a:off x="6061519" y="1783319"/>
            <a:ext cx="1371600" cy="548640"/>
          </a:xfrm>
          <a:prstGeom prst="rect">
            <a:avLst/>
          </a:prstGeom>
          <a:noFill/>
        </p:spPr>
        <p:txBody>
          <a:bodyPr wrap="square" lIns="182880" tIns="182880" rIns="182880" bIns="182880" rtlCol="0">
            <a:noAutofit/>
          </a:bodyPr>
          <a:lstStyle/>
          <a:p>
            <a:r>
              <a:rPr lang="en-IN" dirty="0">
                <a:solidFill>
                  <a:srgbClr val="003F62"/>
                </a:solidFill>
                <a:latin typeface="+mn-lt"/>
              </a:rPr>
              <a:t>Decision</a:t>
            </a:r>
          </a:p>
          <a:p>
            <a:endParaRPr lang="en-IN" dirty="0">
              <a:latin typeface="+mn-lt"/>
            </a:endParaRPr>
          </a:p>
        </p:txBody>
      </p:sp>
      <p:sp>
        <p:nvSpPr>
          <p:cNvPr id="256" name="TextBox 255">
            <a:extLst>
              <a:ext uri="{FF2B5EF4-FFF2-40B4-BE49-F238E27FC236}">
                <a16:creationId xmlns:a16="http://schemas.microsoft.com/office/drawing/2014/main" id="{11C66100-7414-4583-BA5E-D18EBDB96ACF}"/>
              </a:ext>
            </a:extLst>
          </p:cNvPr>
          <p:cNvSpPr txBox="1"/>
          <p:nvPr/>
        </p:nvSpPr>
        <p:spPr>
          <a:xfrm>
            <a:off x="7864272" y="1785831"/>
            <a:ext cx="1371600" cy="548640"/>
          </a:xfrm>
          <a:prstGeom prst="rect">
            <a:avLst/>
          </a:prstGeom>
          <a:noFill/>
        </p:spPr>
        <p:txBody>
          <a:bodyPr wrap="square" lIns="182880" tIns="182880" rIns="182880" bIns="182880" rtlCol="0">
            <a:noAutofit/>
          </a:bodyPr>
          <a:lstStyle/>
          <a:p>
            <a:r>
              <a:rPr lang="en-IN" dirty="0">
                <a:solidFill>
                  <a:srgbClr val="003F62"/>
                </a:solidFill>
                <a:latin typeface="+mn-lt"/>
              </a:rPr>
              <a:t>Delight</a:t>
            </a:r>
          </a:p>
          <a:p>
            <a:endParaRPr lang="en-IN" dirty="0">
              <a:latin typeface="+mn-lt"/>
            </a:endParaRPr>
          </a:p>
        </p:txBody>
      </p:sp>
      <p:sp>
        <p:nvSpPr>
          <p:cNvPr id="257" name="TextBox 256">
            <a:extLst>
              <a:ext uri="{FF2B5EF4-FFF2-40B4-BE49-F238E27FC236}">
                <a16:creationId xmlns:a16="http://schemas.microsoft.com/office/drawing/2014/main" id="{81798E53-4E29-475A-9A2C-125A8CD5F537}"/>
              </a:ext>
            </a:extLst>
          </p:cNvPr>
          <p:cNvSpPr txBox="1"/>
          <p:nvPr/>
        </p:nvSpPr>
        <p:spPr>
          <a:xfrm>
            <a:off x="659840" y="5552071"/>
            <a:ext cx="1371600" cy="548640"/>
          </a:xfrm>
          <a:prstGeom prst="rect">
            <a:avLst/>
          </a:prstGeom>
          <a:noFill/>
        </p:spPr>
        <p:txBody>
          <a:bodyPr wrap="square" lIns="182880" tIns="182880" rIns="182880" bIns="182880" rtlCol="0">
            <a:noAutofit/>
          </a:bodyPr>
          <a:lstStyle/>
          <a:p>
            <a:pPr marL="0" indent="0">
              <a:buNone/>
            </a:pPr>
            <a:r>
              <a:rPr lang="en-IN" dirty="0">
                <a:solidFill>
                  <a:schemeClr val="bg1"/>
                </a:solidFill>
                <a:latin typeface="+mn-lt"/>
              </a:rPr>
              <a:t>Touchpoints</a:t>
            </a:r>
          </a:p>
          <a:p>
            <a:endParaRPr lang="en-IN" dirty="0">
              <a:latin typeface="+mn-lt"/>
            </a:endParaRPr>
          </a:p>
          <a:p>
            <a:endParaRPr lang="en-IN" dirty="0">
              <a:latin typeface="+mn-lt"/>
            </a:endParaRPr>
          </a:p>
        </p:txBody>
      </p:sp>
      <p:sp>
        <p:nvSpPr>
          <p:cNvPr id="258" name="TextBox 257">
            <a:extLst>
              <a:ext uri="{FF2B5EF4-FFF2-40B4-BE49-F238E27FC236}">
                <a16:creationId xmlns:a16="http://schemas.microsoft.com/office/drawing/2014/main" id="{F54F50A0-D762-4724-991D-29A15F043F5D}"/>
              </a:ext>
            </a:extLst>
          </p:cNvPr>
          <p:cNvSpPr txBox="1"/>
          <p:nvPr/>
        </p:nvSpPr>
        <p:spPr>
          <a:xfrm>
            <a:off x="2519443" y="4130405"/>
            <a:ext cx="1371600" cy="548640"/>
          </a:xfrm>
          <a:prstGeom prst="rect">
            <a:avLst/>
          </a:prstGeom>
          <a:noFill/>
        </p:spPr>
        <p:txBody>
          <a:bodyPr wrap="square" lIns="182880" tIns="182880" rIns="182880" bIns="182880" rtlCol="0">
            <a:noAutofit/>
          </a:bodyPr>
          <a:lstStyle/>
          <a:p>
            <a:pPr marL="0" indent="0">
              <a:buNone/>
            </a:pPr>
            <a:r>
              <a:rPr lang="en-IN" dirty="0">
                <a:solidFill>
                  <a:schemeClr val="bg1"/>
                </a:solidFill>
                <a:latin typeface="+mn-lt"/>
              </a:rPr>
              <a:t>Online Ads</a:t>
            </a:r>
          </a:p>
        </p:txBody>
      </p:sp>
      <p:sp>
        <p:nvSpPr>
          <p:cNvPr id="259" name="TextBox 258">
            <a:extLst>
              <a:ext uri="{FF2B5EF4-FFF2-40B4-BE49-F238E27FC236}">
                <a16:creationId xmlns:a16="http://schemas.microsoft.com/office/drawing/2014/main" id="{5DA028E4-275E-4DB1-8FB1-DB6F6D38ABAA}"/>
              </a:ext>
            </a:extLst>
          </p:cNvPr>
          <p:cNvSpPr txBox="1"/>
          <p:nvPr/>
        </p:nvSpPr>
        <p:spPr>
          <a:xfrm>
            <a:off x="4247916" y="3237420"/>
            <a:ext cx="1371600" cy="548640"/>
          </a:xfrm>
          <a:prstGeom prst="rect">
            <a:avLst/>
          </a:prstGeom>
          <a:noFill/>
        </p:spPr>
        <p:txBody>
          <a:bodyPr wrap="square" lIns="182880" tIns="182880" rIns="182880" bIns="182880" rtlCol="0">
            <a:noAutofit/>
          </a:bodyPr>
          <a:lstStyle/>
          <a:p>
            <a:r>
              <a:rPr lang="en-IN" dirty="0">
                <a:solidFill>
                  <a:schemeClr val="bg1"/>
                </a:solidFill>
                <a:latin typeface="+mn-lt"/>
              </a:rPr>
              <a:t>Phone calls</a:t>
            </a:r>
          </a:p>
          <a:p>
            <a:endParaRPr lang="en-IN" dirty="0">
              <a:latin typeface="+mn-lt"/>
            </a:endParaRPr>
          </a:p>
        </p:txBody>
      </p:sp>
      <p:sp>
        <p:nvSpPr>
          <p:cNvPr id="260" name="TextBox 259">
            <a:extLst>
              <a:ext uri="{FF2B5EF4-FFF2-40B4-BE49-F238E27FC236}">
                <a16:creationId xmlns:a16="http://schemas.microsoft.com/office/drawing/2014/main" id="{2527C180-98F3-4FA0-BD72-A9AC8C132ADD}"/>
              </a:ext>
            </a:extLst>
          </p:cNvPr>
          <p:cNvSpPr txBox="1"/>
          <p:nvPr/>
        </p:nvSpPr>
        <p:spPr>
          <a:xfrm>
            <a:off x="4213849" y="4542894"/>
            <a:ext cx="1600200" cy="548640"/>
          </a:xfrm>
          <a:prstGeom prst="rect">
            <a:avLst/>
          </a:prstGeom>
          <a:noFill/>
        </p:spPr>
        <p:txBody>
          <a:bodyPr wrap="square" lIns="182880" tIns="182880" rIns="182880" bIns="182880" rtlCol="0">
            <a:noAutofit/>
          </a:bodyPr>
          <a:lstStyle/>
          <a:p>
            <a:r>
              <a:rPr lang="en-IN" dirty="0">
                <a:solidFill>
                  <a:schemeClr val="bg1"/>
                </a:solidFill>
                <a:latin typeface="+mn-lt"/>
              </a:rPr>
              <a:t>Email enquiries</a:t>
            </a:r>
          </a:p>
          <a:p>
            <a:endParaRPr lang="en-IN" dirty="0">
              <a:latin typeface="+mn-lt"/>
            </a:endParaRPr>
          </a:p>
        </p:txBody>
      </p:sp>
      <p:sp>
        <p:nvSpPr>
          <p:cNvPr id="261" name="TextBox 260">
            <a:extLst>
              <a:ext uri="{FF2B5EF4-FFF2-40B4-BE49-F238E27FC236}">
                <a16:creationId xmlns:a16="http://schemas.microsoft.com/office/drawing/2014/main" id="{F001BC49-BB1C-4AD2-8E36-C0B816038AB7}"/>
              </a:ext>
            </a:extLst>
          </p:cNvPr>
          <p:cNvSpPr txBox="1"/>
          <p:nvPr/>
        </p:nvSpPr>
        <p:spPr>
          <a:xfrm>
            <a:off x="4306977" y="5632479"/>
            <a:ext cx="1371600" cy="548640"/>
          </a:xfrm>
          <a:prstGeom prst="rect">
            <a:avLst/>
          </a:prstGeom>
          <a:noFill/>
        </p:spPr>
        <p:txBody>
          <a:bodyPr wrap="square" lIns="182880" tIns="182880" rIns="182880" bIns="182880" rtlCol="0">
            <a:noAutofit/>
          </a:bodyPr>
          <a:lstStyle/>
          <a:p>
            <a:r>
              <a:rPr lang="en-IN" dirty="0">
                <a:solidFill>
                  <a:schemeClr val="bg1"/>
                </a:solidFill>
                <a:latin typeface="+mn-lt"/>
              </a:rPr>
              <a:t>Website</a:t>
            </a:r>
          </a:p>
          <a:p>
            <a:endParaRPr lang="en-IN" dirty="0">
              <a:latin typeface="+mn-lt"/>
            </a:endParaRPr>
          </a:p>
        </p:txBody>
      </p:sp>
      <p:sp>
        <p:nvSpPr>
          <p:cNvPr id="262" name="TextBox 261">
            <a:extLst>
              <a:ext uri="{FF2B5EF4-FFF2-40B4-BE49-F238E27FC236}">
                <a16:creationId xmlns:a16="http://schemas.microsoft.com/office/drawing/2014/main" id="{C38773BC-B8A4-40F4-A43F-89C03C893F2B}"/>
              </a:ext>
            </a:extLst>
          </p:cNvPr>
          <p:cNvSpPr txBox="1"/>
          <p:nvPr/>
        </p:nvSpPr>
        <p:spPr>
          <a:xfrm>
            <a:off x="6118044" y="4430170"/>
            <a:ext cx="1371600" cy="548640"/>
          </a:xfrm>
          <a:prstGeom prst="rect">
            <a:avLst/>
          </a:prstGeom>
          <a:noFill/>
        </p:spPr>
        <p:txBody>
          <a:bodyPr wrap="square" lIns="182880" tIns="182880" rIns="182880" bIns="182880" rtlCol="0">
            <a:noAutofit/>
          </a:bodyPr>
          <a:lstStyle/>
          <a:p>
            <a:pPr marL="0" indent="0">
              <a:buNone/>
            </a:pPr>
            <a:r>
              <a:rPr lang="en-IN" dirty="0">
                <a:solidFill>
                  <a:schemeClr val="bg1"/>
                </a:solidFill>
                <a:latin typeface="+mn-lt"/>
              </a:rPr>
              <a:t>Sign up for test project</a:t>
            </a:r>
          </a:p>
        </p:txBody>
      </p:sp>
      <p:sp>
        <p:nvSpPr>
          <p:cNvPr id="263" name="TextBox 262">
            <a:extLst>
              <a:ext uri="{FF2B5EF4-FFF2-40B4-BE49-F238E27FC236}">
                <a16:creationId xmlns:a16="http://schemas.microsoft.com/office/drawing/2014/main" id="{840899F3-138E-46F3-97A5-91A0477F596D}"/>
              </a:ext>
            </a:extLst>
          </p:cNvPr>
          <p:cNvSpPr txBox="1"/>
          <p:nvPr/>
        </p:nvSpPr>
        <p:spPr>
          <a:xfrm>
            <a:off x="7925277" y="3705517"/>
            <a:ext cx="1371600" cy="548640"/>
          </a:xfrm>
          <a:prstGeom prst="rect">
            <a:avLst/>
          </a:prstGeom>
          <a:noFill/>
        </p:spPr>
        <p:txBody>
          <a:bodyPr wrap="square" lIns="182880" tIns="182880" rIns="182880" bIns="182880" rtlCol="0">
            <a:noAutofit/>
          </a:bodyPr>
          <a:lstStyle/>
          <a:p>
            <a:r>
              <a:rPr lang="en-IN" dirty="0">
                <a:solidFill>
                  <a:schemeClr val="bg1"/>
                </a:solidFill>
                <a:latin typeface="+mn-lt"/>
              </a:rPr>
              <a:t>Referrals</a:t>
            </a:r>
          </a:p>
          <a:p>
            <a:endParaRPr lang="en-IN" dirty="0">
              <a:latin typeface="+mn-lt"/>
            </a:endParaRPr>
          </a:p>
        </p:txBody>
      </p:sp>
      <p:sp>
        <p:nvSpPr>
          <p:cNvPr id="264" name="TextBox 263">
            <a:extLst>
              <a:ext uri="{FF2B5EF4-FFF2-40B4-BE49-F238E27FC236}">
                <a16:creationId xmlns:a16="http://schemas.microsoft.com/office/drawing/2014/main" id="{9B561E87-740E-4511-9F26-6170EA43A773}"/>
              </a:ext>
            </a:extLst>
          </p:cNvPr>
          <p:cNvSpPr txBox="1"/>
          <p:nvPr/>
        </p:nvSpPr>
        <p:spPr>
          <a:xfrm>
            <a:off x="7939971" y="5577567"/>
            <a:ext cx="1371600" cy="548640"/>
          </a:xfrm>
          <a:prstGeom prst="rect">
            <a:avLst/>
          </a:prstGeom>
          <a:noFill/>
        </p:spPr>
        <p:txBody>
          <a:bodyPr wrap="square" lIns="182880" tIns="182880" rIns="182880" bIns="182880" rtlCol="0">
            <a:noAutofit/>
          </a:bodyPr>
          <a:lstStyle/>
          <a:p>
            <a:r>
              <a:rPr lang="en-IN" dirty="0">
                <a:solidFill>
                  <a:schemeClr val="bg1"/>
                </a:solidFill>
                <a:latin typeface="+mn-lt"/>
              </a:rPr>
              <a:t>More users</a:t>
            </a:r>
          </a:p>
          <a:p>
            <a:endParaRPr lang="en-IN" dirty="0">
              <a:latin typeface="+mn-lt"/>
            </a:endParaRPr>
          </a:p>
        </p:txBody>
      </p:sp>
      <p:sp>
        <p:nvSpPr>
          <p:cNvPr id="94" name="Title 1">
            <a:extLst>
              <a:ext uri="{FF2B5EF4-FFF2-40B4-BE49-F238E27FC236}">
                <a16:creationId xmlns:a16="http://schemas.microsoft.com/office/drawing/2014/main" id="{3DC252D5-F593-4580-B888-D0B83633153C}"/>
              </a:ext>
            </a:extLst>
          </p:cNvPr>
          <p:cNvSpPr txBox="1">
            <a:spLocks/>
          </p:cNvSpPr>
          <p:nvPr/>
        </p:nvSpPr>
        <p:spPr>
          <a:xfrm>
            <a:off x="417512" y="227576"/>
            <a:ext cx="9086167" cy="460800"/>
          </a:xfrm>
          <a:prstGeom prst="rect">
            <a:avLst/>
          </a:prstGeom>
        </p:spPr>
        <p:txBody>
          <a:bodyPr/>
          <a:lstStyle>
            <a:lvl1pPr algn="l" rtl="0" eaLnBrk="1" fontAlgn="base" hangingPunct="1">
              <a:spcBef>
                <a:spcPct val="0"/>
              </a:spcBef>
              <a:spcAft>
                <a:spcPct val="0"/>
              </a:spcAft>
              <a:defRPr lang="en-US" sz="2400" b="0" smtClean="0">
                <a:solidFill>
                  <a:srgbClr val="05405E"/>
                </a:solidFill>
                <a:latin typeface="Poppins Black" panose="00000A00000000000000" pitchFamily="2" charset="0"/>
                <a:ea typeface="+mj-ea"/>
                <a:cs typeface="Poppins Black" panose="00000A00000000000000" pitchFamily="2"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a:lstStyle>
          <a:p>
            <a:r>
              <a:rPr lang="en-IN" dirty="0"/>
              <a:t>Using Customer journey map to increase conversion rates</a:t>
            </a:r>
            <a:endParaRPr lang="en-US" kern="0" dirty="0"/>
          </a:p>
        </p:txBody>
      </p:sp>
      <p:grpSp>
        <p:nvGrpSpPr>
          <p:cNvPr id="2" name="Group 1">
            <a:extLst>
              <a:ext uri="{FF2B5EF4-FFF2-40B4-BE49-F238E27FC236}">
                <a16:creationId xmlns:a16="http://schemas.microsoft.com/office/drawing/2014/main" id="{AEE48FA6-8593-4E01-8156-B60FE1092B82}"/>
              </a:ext>
            </a:extLst>
          </p:cNvPr>
          <p:cNvGrpSpPr/>
          <p:nvPr/>
        </p:nvGrpSpPr>
        <p:grpSpPr>
          <a:xfrm>
            <a:off x="509010" y="1208201"/>
            <a:ext cx="640080" cy="640080"/>
            <a:chOff x="509010" y="1211122"/>
            <a:chExt cx="640080" cy="640080"/>
          </a:xfrm>
        </p:grpSpPr>
        <p:sp>
          <p:nvSpPr>
            <p:cNvPr id="19" name="Oval 18">
              <a:extLst>
                <a:ext uri="{FF2B5EF4-FFF2-40B4-BE49-F238E27FC236}">
                  <a16:creationId xmlns:a16="http://schemas.microsoft.com/office/drawing/2014/main" id="{1B31A597-13A8-4ABD-B57F-B81A275B3FCA}"/>
                </a:ext>
              </a:extLst>
            </p:cNvPr>
            <p:cNvSpPr/>
            <p:nvPr/>
          </p:nvSpPr>
          <p:spPr bwMode="auto">
            <a:xfrm>
              <a:off x="509010" y="1211122"/>
              <a:ext cx="640080" cy="640080"/>
            </a:xfrm>
            <a:prstGeom prst="ellipse">
              <a:avLst/>
            </a:prstGeom>
            <a:solidFill>
              <a:srgbClr val="F2F2F2"/>
            </a:solidFill>
            <a:ln w="31750">
              <a:solidFill>
                <a:srgbClr val="003F62"/>
              </a:solidFill>
              <a:round/>
              <a:headEnd/>
              <a:tailEnd/>
            </a:ln>
          </p:spPr>
          <p:txBody>
            <a:bodyPr wrap="square" lIns="182880" tIns="182880" rIns="182880" bIns="182880" rtlCol="0" anchor="t" anchorCtr="0">
              <a:noAutofit/>
            </a:bodyPr>
            <a:lstStyle/>
            <a:p>
              <a:pPr algn="l"/>
              <a:endParaRPr lang="en-IN" sz="4000" dirty="0">
                <a:solidFill>
                  <a:schemeClr val="bg1"/>
                </a:solidFill>
              </a:endParaRPr>
            </a:p>
          </p:txBody>
        </p:sp>
        <p:sp>
          <p:nvSpPr>
            <p:cNvPr id="96" name="Graphic 5">
              <a:extLst>
                <a:ext uri="{FF2B5EF4-FFF2-40B4-BE49-F238E27FC236}">
                  <a16:creationId xmlns:a16="http://schemas.microsoft.com/office/drawing/2014/main" id="{2F32AB8C-43B8-48AC-8558-F207B62778B4}"/>
                </a:ext>
              </a:extLst>
            </p:cNvPr>
            <p:cNvSpPr/>
            <p:nvPr/>
          </p:nvSpPr>
          <p:spPr>
            <a:xfrm>
              <a:off x="646170" y="1348282"/>
              <a:ext cx="365760" cy="365760"/>
            </a:xfrm>
            <a:custGeom>
              <a:avLst/>
              <a:gdLst>
                <a:gd name="connsiteX0" fmla="*/ 64146 w 3127876"/>
                <a:gd name="connsiteY0" fmla="*/ 3116280 h 3127625"/>
                <a:gd name="connsiteX1" fmla="*/ 0 w 3127876"/>
                <a:gd name="connsiteY1" fmla="*/ 2940512 h 3127625"/>
                <a:gd name="connsiteX2" fmla="*/ 12743 w 3127876"/>
                <a:gd name="connsiteY2" fmla="*/ 2818153 h 3127625"/>
                <a:gd name="connsiteX3" fmla="*/ 85815 w 3127876"/>
                <a:gd name="connsiteY3" fmla="*/ 2762827 h 3127625"/>
                <a:gd name="connsiteX4" fmla="*/ 109965 w 3127876"/>
                <a:gd name="connsiteY4" fmla="*/ 2759595 h 3127625"/>
                <a:gd name="connsiteX5" fmla="*/ 109965 w 3127876"/>
                <a:gd name="connsiteY5" fmla="*/ 2113903 h 3127625"/>
                <a:gd name="connsiteX6" fmla="*/ 90110 w 3127876"/>
                <a:gd name="connsiteY6" fmla="*/ 2103905 h 3127625"/>
                <a:gd name="connsiteX7" fmla="*/ 45106 w 3127876"/>
                <a:gd name="connsiteY7" fmla="*/ 1854338 h 3127625"/>
                <a:gd name="connsiteX8" fmla="*/ 90110 w 3127876"/>
                <a:gd name="connsiteY8" fmla="*/ 1820972 h 3127625"/>
                <a:gd name="connsiteX9" fmla="*/ 109965 w 3127876"/>
                <a:gd name="connsiteY9" fmla="*/ 1812752 h 3127625"/>
                <a:gd name="connsiteX10" fmla="*/ 109965 w 3127876"/>
                <a:gd name="connsiteY10" fmla="*/ 366291 h 3127625"/>
                <a:gd name="connsiteX11" fmla="*/ 93165 w 3127876"/>
                <a:gd name="connsiteY11" fmla="*/ 366199 h 3127625"/>
                <a:gd name="connsiteX12" fmla="*/ 14205 w 3127876"/>
                <a:gd name="connsiteY12" fmla="*/ 311866 h 3127625"/>
                <a:gd name="connsiteX13" fmla="*/ 0 w 3127876"/>
                <a:gd name="connsiteY13" fmla="*/ 187960 h 3127625"/>
                <a:gd name="connsiteX14" fmla="*/ 64146 w 3127876"/>
                <a:gd name="connsiteY14" fmla="*/ 11222 h 3127625"/>
                <a:gd name="connsiteX15" fmla="*/ 1563939 w 3127876"/>
                <a:gd name="connsiteY15" fmla="*/ 0 h 3127625"/>
                <a:gd name="connsiteX16" fmla="*/ 3063733 w 3127876"/>
                <a:gd name="connsiteY16" fmla="*/ 11222 h 3127625"/>
                <a:gd name="connsiteX17" fmla="*/ 3127876 w 3127876"/>
                <a:gd name="connsiteY17" fmla="*/ 187960 h 3127625"/>
                <a:gd name="connsiteX18" fmla="*/ 3113676 w 3127876"/>
                <a:gd name="connsiteY18" fmla="*/ 311866 h 3127625"/>
                <a:gd name="connsiteX19" fmla="*/ 3034709 w 3127876"/>
                <a:gd name="connsiteY19" fmla="*/ 366199 h 3127625"/>
                <a:gd name="connsiteX20" fmla="*/ 3017923 w 3127876"/>
                <a:gd name="connsiteY20" fmla="*/ 366291 h 3127625"/>
                <a:gd name="connsiteX21" fmla="*/ 3017923 w 3127876"/>
                <a:gd name="connsiteY21" fmla="*/ 1812752 h 3127625"/>
                <a:gd name="connsiteX22" fmla="*/ 3037780 w 3127876"/>
                <a:gd name="connsiteY22" fmla="*/ 1820972 h 3127625"/>
                <a:gd name="connsiteX23" fmla="*/ 3083290 w 3127876"/>
                <a:gd name="connsiteY23" fmla="*/ 1854846 h 3127625"/>
                <a:gd name="connsiteX24" fmla="*/ 3040828 w 3127876"/>
                <a:gd name="connsiteY24" fmla="*/ 2102035 h 3127625"/>
                <a:gd name="connsiteX25" fmla="*/ 3017923 w 3127876"/>
                <a:gd name="connsiteY25" fmla="*/ 2113834 h 3127625"/>
                <a:gd name="connsiteX26" fmla="*/ 3017923 w 3127876"/>
                <a:gd name="connsiteY26" fmla="*/ 2761188 h 3127625"/>
                <a:gd name="connsiteX27" fmla="*/ 3034709 w 3127876"/>
                <a:gd name="connsiteY27" fmla="*/ 2761280 h 3127625"/>
                <a:gd name="connsiteX28" fmla="*/ 3113676 w 3127876"/>
                <a:gd name="connsiteY28" fmla="*/ 2815613 h 3127625"/>
                <a:gd name="connsiteX29" fmla="*/ 3127738 w 3127876"/>
                <a:gd name="connsiteY29" fmla="*/ 2940858 h 3127625"/>
                <a:gd name="connsiteX30" fmla="*/ 3059115 w 3127876"/>
                <a:gd name="connsiteY30" fmla="*/ 3118358 h 3127625"/>
                <a:gd name="connsiteX31" fmla="*/ 1562609 w 3127876"/>
                <a:gd name="connsiteY31" fmla="*/ 3127617 h 3127625"/>
                <a:gd name="connsiteX32" fmla="*/ 64132 w 3127876"/>
                <a:gd name="connsiteY32" fmla="*/ 3116257 h 3127625"/>
                <a:gd name="connsiteX33" fmla="*/ 3034871 w 3127876"/>
                <a:gd name="connsiteY33" fmla="*/ 2948386 h 3127625"/>
                <a:gd name="connsiteX34" fmla="*/ 3029537 w 3127876"/>
                <a:gd name="connsiteY34" fmla="*/ 2855214 h 3127625"/>
                <a:gd name="connsiteX35" fmla="*/ 2544122 w 3127876"/>
                <a:gd name="connsiteY35" fmla="*/ 2846740 h 3127625"/>
                <a:gd name="connsiteX36" fmla="*/ 2065749 w 3127876"/>
                <a:gd name="connsiteY36" fmla="*/ 2846740 h 3127625"/>
                <a:gd name="connsiteX37" fmla="*/ 2053095 w 3127876"/>
                <a:gd name="connsiteY37" fmla="*/ 2830645 h 3127625"/>
                <a:gd name="connsiteX38" fmla="*/ 2053095 w 3127876"/>
                <a:gd name="connsiteY38" fmla="*/ 2777305 h 3127625"/>
                <a:gd name="connsiteX39" fmla="*/ 2065749 w 3127876"/>
                <a:gd name="connsiteY39" fmla="*/ 2761211 h 3127625"/>
                <a:gd name="connsiteX40" fmla="*/ 2205603 w 3127876"/>
                <a:gd name="connsiteY40" fmla="*/ 2761211 h 3127625"/>
                <a:gd name="connsiteX41" fmla="*/ 2351530 w 3127876"/>
                <a:gd name="connsiteY41" fmla="*/ 2749873 h 3127625"/>
                <a:gd name="connsiteX42" fmla="*/ 2416412 w 3127876"/>
                <a:gd name="connsiteY42" fmla="*/ 2598651 h 3127625"/>
                <a:gd name="connsiteX43" fmla="*/ 2554581 w 3127876"/>
                <a:gd name="connsiteY43" fmla="*/ 2293828 h 3127625"/>
                <a:gd name="connsiteX44" fmla="*/ 2636550 w 3127876"/>
                <a:gd name="connsiteY44" fmla="*/ 2122770 h 3127625"/>
                <a:gd name="connsiteX45" fmla="*/ 2612375 w 3127876"/>
                <a:gd name="connsiteY45" fmla="*/ 2105660 h 3127625"/>
                <a:gd name="connsiteX46" fmla="*/ 2519993 w 3127876"/>
                <a:gd name="connsiteY46" fmla="*/ 1963466 h 3127625"/>
                <a:gd name="connsiteX47" fmla="*/ 2519993 w 3127876"/>
                <a:gd name="connsiteY47" fmla="*/ 1920240 h 3127625"/>
                <a:gd name="connsiteX48" fmla="*/ 2474183 w 3127876"/>
                <a:gd name="connsiteY48" fmla="*/ 1889044 h 3127625"/>
                <a:gd name="connsiteX49" fmla="*/ 1991284 w 3127876"/>
                <a:gd name="connsiteY49" fmla="*/ 1270162 h 3127625"/>
                <a:gd name="connsiteX50" fmla="*/ 1863275 w 3127876"/>
                <a:gd name="connsiteY50" fmla="*/ 852793 h 3127625"/>
                <a:gd name="connsiteX51" fmla="*/ 1830787 w 3127876"/>
                <a:gd name="connsiteY51" fmla="*/ 855195 h 3127625"/>
                <a:gd name="connsiteX52" fmla="*/ 1563928 w 3127876"/>
                <a:gd name="connsiteY52" fmla="*/ 922274 h 3127625"/>
                <a:gd name="connsiteX53" fmla="*/ 1303198 w 3127876"/>
                <a:gd name="connsiteY53" fmla="*/ 857527 h 3127625"/>
                <a:gd name="connsiteX54" fmla="*/ 1271819 w 3127876"/>
                <a:gd name="connsiteY54" fmla="*/ 842841 h 3127625"/>
                <a:gd name="connsiteX55" fmla="*/ 1261845 w 3127876"/>
                <a:gd name="connsiteY55" fmla="*/ 870296 h 3127625"/>
                <a:gd name="connsiteX56" fmla="*/ 1203370 w 3127876"/>
                <a:gd name="connsiteY56" fmla="*/ 1095294 h 3127625"/>
                <a:gd name="connsiteX57" fmla="*/ 1127945 w 3127876"/>
                <a:gd name="connsiteY57" fmla="*/ 1129538 h 3127625"/>
                <a:gd name="connsiteX58" fmla="*/ 1132799 w 3127876"/>
                <a:gd name="connsiteY58" fmla="*/ 1014545 h 3127625"/>
                <a:gd name="connsiteX59" fmla="*/ 1179738 w 3127876"/>
                <a:gd name="connsiteY59" fmla="*/ 773407 h 3127625"/>
                <a:gd name="connsiteX60" fmla="*/ 1120058 w 3127876"/>
                <a:gd name="connsiteY60" fmla="*/ 786384 h 3127625"/>
                <a:gd name="connsiteX61" fmla="*/ 1014708 w 3127876"/>
                <a:gd name="connsiteY61" fmla="*/ 818226 h 3127625"/>
                <a:gd name="connsiteX62" fmla="*/ 962195 w 3127876"/>
                <a:gd name="connsiteY62" fmla="*/ 828848 h 3127625"/>
                <a:gd name="connsiteX63" fmla="*/ 942862 w 3127876"/>
                <a:gd name="connsiteY63" fmla="*/ 925045 h 3127625"/>
                <a:gd name="connsiteX64" fmla="*/ 572942 w 3127876"/>
                <a:gd name="connsiteY64" fmla="*/ 1705656 h 3127625"/>
                <a:gd name="connsiteX65" fmla="*/ 504520 w 3127876"/>
                <a:gd name="connsiteY65" fmla="*/ 1783265 h 3127625"/>
                <a:gd name="connsiteX66" fmla="*/ 482797 w 3127876"/>
                <a:gd name="connsiteY66" fmla="*/ 1804231 h 3127625"/>
                <a:gd name="connsiteX67" fmla="*/ 520877 w 3127876"/>
                <a:gd name="connsiteY67" fmla="*/ 1822981 h 3127625"/>
                <a:gd name="connsiteX68" fmla="*/ 638376 w 3127876"/>
                <a:gd name="connsiteY68" fmla="*/ 1786336 h 3127625"/>
                <a:gd name="connsiteX69" fmla="*/ 1006149 w 3127876"/>
                <a:gd name="connsiteY69" fmla="*/ 1328559 h 3127625"/>
                <a:gd name="connsiteX70" fmla="*/ 1074125 w 3127876"/>
                <a:gd name="connsiteY70" fmla="*/ 1252174 h 3127625"/>
                <a:gd name="connsiteX71" fmla="*/ 1086458 w 3127876"/>
                <a:gd name="connsiteY71" fmla="*/ 1373817 h 3127625"/>
                <a:gd name="connsiteX72" fmla="*/ 653271 w 3127876"/>
                <a:gd name="connsiteY72" fmla="*/ 1889090 h 3127625"/>
                <a:gd name="connsiteX73" fmla="*/ 607061 w 3127876"/>
                <a:gd name="connsiteY73" fmla="*/ 1920794 h 3127625"/>
                <a:gd name="connsiteX74" fmla="*/ 609749 w 3127876"/>
                <a:gd name="connsiteY74" fmla="*/ 1953214 h 3127625"/>
                <a:gd name="connsiteX75" fmla="*/ 517866 w 3127876"/>
                <a:gd name="connsiteY75" fmla="*/ 2104667 h 3127625"/>
                <a:gd name="connsiteX76" fmla="*/ 489860 w 3127876"/>
                <a:gd name="connsiteY76" fmla="*/ 2117229 h 3127625"/>
                <a:gd name="connsiteX77" fmla="*/ 515989 w 3127876"/>
                <a:gd name="connsiteY77" fmla="*/ 2174286 h 3127625"/>
                <a:gd name="connsiteX78" fmla="*/ 712554 w 3127876"/>
                <a:gd name="connsiteY78" fmla="*/ 2601745 h 3127625"/>
                <a:gd name="connsiteX79" fmla="*/ 776321 w 3127876"/>
                <a:gd name="connsiteY79" fmla="*/ 2749897 h 3127625"/>
                <a:gd name="connsiteX80" fmla="*/ 1338094 w 3127876"/>
                <a:gd name="connsiteY80" fmla="*/ 2761234 h 3127625"/>
                <a:gd name="connsiteX81" fmla="*/ 1906037 w 3127876"/>
                <a:gd name="connsiteY81" fmla="*/ 2773449 h 3127625"/>
                <a:gd name="connsiteX82" fmla="*/ 1918251 w 3127876"/>
                <a:gd name="connsiteY82" fmla="*/ 2803998 h 3127625"/>
                <a:gd name="connsiteX83" fmla="*/ 1906037 w 3127876"/>
                <a:gd name="connsiteY83" fmla="*/ 2834548 h 3127625"/>
                <a:gd name="connsiteX84" fmla="*/ 1000037 w 3127876"/>
                <a:gd name="connsiteY84" fmla="*/ 2846763 h 3127625"/>
                <a:gd name="connsiteX85" fmla="*/ 98937 w 3127876"/>
                <a:gd name="connsiteY85" fmla="*/ 2854083 h 3127625"/>
                <a:gd name="connsiteX86" fmla="*/ 95693 w 3127876"/>
                <a:gd name="connsiteY86" fmla="*/ 3032090 h 3127625"/>
                <a:gd name="connsiteX87" fmla="*/ 1566463 w 3127876"/>
                <a:gd name="connsiteY87" fmla="*/ 3034630 h 3127625"/>
                <a:gd name="connsiteX88" fmla="*/ 3033162 w 3127876"/>
                <a:gd name="connsiteY88" fmla="*/ 3033107 h 3127625"/>
                <a:gd name="connsiteX89" fmla="*/ 387171 w 3127876"/>
                <a:gd name="connsiteY89" fmla="*/ 2756454 h 3127625"/>
                <a:gd name="connsiteX90" fmla="*/ 269737 w 3127876"/>
                <a:gd name="connsiteY90" fmla="*/ 2254042 h 3127625"/>
                <a:gd name="connsiteX91" fmla="*/ 214056 w 3127876"/>
                <a:gd name="connsiteY91" fmla="*/ 2119699 h 3127625"/>
                <a:gd name="connsiteX92" fmla="*/ 201687 w 3127876"/>
                <a:gd name="connsiteY92" fmla="*/ 2436368 h 3127625"/>
                <a:gd name="connsiteX93" fmla="*/ 205760 w 3127876"/>
                <a:gd name="connsiteY93" fmla="*/ 2757124 h 3127625"/>
                <a:gd name="connsiteX94" fmla="*/ 387173 w 3127876"/>
                <a:gd name="connsiteY94" fmla="*/ 2756454 h 3127625"/>
                <a:gd name="connsiteX95" fmla="*/ 678194 w 3127876"/>
                <a:gd name="connsiteY95" fmla="*/ 2758232 h 3127625"/>
                <a:gd name="connsiteX96" fmla="*/ 561711 w 3127876"/>
                <a:gd name="connsiteY96" fmla="*/ 2481950 h 3127625"/>
                <a:gd name="connsiteX97" fmla="*/ 452286 w 3127876"/>
                <a:gd name="connsiteY97" fmla="*/ 2254366 h 3127625"/>
                <a:gd name="connsiteX98" fmla="*/ 384901 w 3127876"/>
                <a:gd name="connsiteY98" fmla="*/ 2119699 h 3127625"/>
                <a:gd name="connsiteX99" fmla="*/ 353728 w 3127876"/>
                <a:gd name="connsiteY99" fmla="*/ 2119699 h 3127625"/>
                <a:gd name="connsiteX100" fmla="*/ 326590 w 3127876"/>
                <a:gd name="connsiteY100" fmla="*/ 2130206 h 3127625"/>
                <a:gd name="connsiteX101" fmla="*/ 479241 w 3127876"/>
                <a:gd name="connsiteY101" fmla="*/ 2738282 h 3127625"/>
                <a:gd name="connsiteX102" fmla="*/ 483257 w 3127876"/>
                <a:gd name="connsiteY102" fmla="*/ 2761211 h 3127625"/>
                <a:gd name="connsiteX103" fmla="*/ 580725 w 3127876"/>
                <a:gd name="connsiteY103" fmla="*/ 2761211 h 3127625"/>
                <a:gd name="connsiteX104" fmla="*/ 678194 w 3127876"/>
                <a:gd name="connsiteY104" fmla="*/ 2758232 h 3127625"/>
                <a:gd name="connsiteX105" fmla="*/ 2645347 w 3127876"/>
                <a:gd name="connsiteY105" fmla="*/ 2759317 h 3127625"/>
                <a:gd name="connsiteX106" fmla="*/ 2688294 w 3127876"/>
                <a:gd name="connsiteY106" fmla="*/ 2541270 h 3127625"/>
                <a:gd name="connsiteX107" fmla="*/ 2788665 w 3127876"/>
                <a:gd name="connsiteY107" fmla="*/ 2169044 h 3127625"/>
                <a:gd name="connsiteX108" fmla="*/ 2804181 w 3127876"/>
                <a:gd name="connsiteY108" fmla="*/ 2121685 h 3127625"/>
                <a:gd name="connsiteX109" fmla="*/ 2773264 w 3127876"/>
                <a:gd name="connsiteY109" fmla="*/ 2119723 h 3127625"/>
                <a:gd name="connsiteX110" fmla="*/ 2742347 w 3127876"/>
                <a:gd name="connsiteY110" fmla="*/ 2119723 h 3127625"/>
                <a:gd name="connsiteX111" fmla="*/ 2654490 w 3127876"/>
                <a:gd name="connsiteY111" fmla="*/ 2298423 h 3127625"/>
                <a:gd name="connsiteX112" fmla="*/ 2453333 w 3127876"/>
                <a:gd name="connsiteY112" fmla="*/ 2747472 h 3127625"/>
                <a:gd name="connsiteX113" fmla="*/ 2449038 w 3127876"/>
                <a:gd name="connsiteY113" fmla="*/ 2761211 h 3127625"/>
                <a:gd name="connsiteX114" fmla="*/ 2547192 w 3127876"/>
                <a:gd name="connsiteY114" fmla="*/ 2761211 h 3127625"/>
                <a:gd name="connsiteX115" fmla="*/ 2645347 w 3127876"/>
                <a:gd name="connsiteY115" fmla="*/ 2759341 h 3127625"/>
                <a:gd name="connsiteX116" fmla="*/ 2924894 w 3127876"/>
                <a:gd name="connsiteY116" fmla="*/ 2438908 h 3127625"/>
                <a:gd name="connsiteX117" fmla="*/ 2914042 w 3127876"/>
                <a:gd name="connsiteY117" fmla="*/ 2119699 h 3127625"/>
                <a:gd name="connsiteX118" fmla="*/ 2859158 w 3127876"/>
                <a:gd name="connsiteY118" fmla="*/ 2250579 h 3127625"/>
                <a:gd name="connsiteX119" fmla="*/ 2740985 w 3127876"/>
                <a:gd name="connsiteY119" fmla="*/ 2756616 h 3127625"/>
                <a:gd name="connsiteX120" fmla="*/ 2833667 w 3127876"/>
                <a:gd name="connsiteY120" fmla="*/ 2759849 h 3127625"/>
                <a:gd name="connsiteX121" fmla="*/ 2923324 w 3127876"/>
                <a:gd name="connsiteY121" fmla="*/ 2758163 h 3127625"/>
                <a:gd name="connsiteX122" fmla="*/ 498625 w 3127876"/>
                <a:gd name="connsiteY122" fmla="*/ 2007270 h 3127625"/>
                <a:gd name="connsiteX123" fmla="*/ 482656 w 3127876"/>
                <a:gd name="connsiteY123" fmla="*/ 1904353 h 3127625"/>
                <a:gd name="connsiteX124" fmla="*/ 306906 w 3127876"/>
                <a:gd name="connsiteY124" fmla="*/ 1893639 h 3127625"/>
                <a:gd name="connsiteX125" fmla="*/ 100173 w 3127876"/>
                <a:gd name="connsiteY125" fmla="*/ 1932340 h 3127625"/>
                <a:gd name="connsiteX126" fmla="*/ 116866 w 3127876"/>
                <a:gd name="connsiteY126" fmla="*/ 2012396 h 3127625"/>
                <a:gd name="connsiteX127" fmla="*/ 135456 w 3127876"/>
                <a:gd name="connsiteY127" fmla="*/ 2028052 h 3127625"/>
                <a:gd name="connsiteX128" fmla="*/ 477854 w 3127876"/>
                <a:gd name="connsiteY128" fmla="*/ 2028052 h 3127625"/>
                <a:gd name="connsiteX129" fmla="*/ 3011250 w 3127876"/>
                <a:gd name="connsiteY129" fmla="*/ 2012396 h 3127625"/>
                <a:gd name="connsiteX130" fmla="*/ 3027944 w 3127876"/>
                <a:gd name="connsiteY130" fmla="*/ 1932340 h 3127625"/>
                <a:gd name="connsiteX131" fmla="*/ 2821222 w 3127876"/>
                <a:gd name="connsiteY131" fmla="*/ 1893639 h 3127625"/>
                <a:gd name="connsiteX132" fmla="*/ 2645463 w 3127876"/>
                <a:gd name="connsiteY132" fmla="*/ 1904353 h 3127625"/>
                <a:gd name="connsiteX133" fmla="*/ 2629484 w 3127876"/>
                <a:gd name="connsiteY133" fmla="*/ 2007270 h 3127625"/>
                <a:gd name="connsiteX134" fmla="*/ 2650265 w 3127876"/>
                <a:gd name="connsiteY134" fmla="*/ 2028052 h 3127625"/>
                <a:gd name="connsiteX135" fmla="*/ 2992663 w 3127876"/>
                <a:gd name="connsiteY135" fmla="*/ 2028052 h 3127625"/>
                <a:gd name="connsiteX136" fmla="*/ 2601153 w 3127876"/>
                <a:gd name="connsiteY136" fmla="*/ 1759250 h 3127625"/>
                <a:gd name="connsiteX137" fmla="*/ 2505585 w 3127876"/>
                <a:gd name="connsiteY137" fmla="*/ 1643149 h 3127625"/>
                <a:gd name="connsiteX138" fmla="*/ 2173555 w 3127876"/>
                <a:gd name="connsiteY138" fmla="*/ 870897 h 3127625"/>
                <a:gd name="connsiteX139" fmla="*/ 2165819 w 3127876"/>
                <a:gd name="connsiteY139" fmla="*/ 828733 h 3127625"/>
                <a:gd name="connsiteX140" fmla="*/ 2113290 w 3127876"/>
                <a:gd name="connsiteY140" fmla="*/ 818157 h 3127625"/>
                <a:gd name="connsiteX141" fmla="*/ 2007932 w 3127876"/>
                <a:gd name="connsiteY141" fmla="*/ 786338 h 3127625"/>
                <a:gd name="connsiteX142" fmla="*/ 1957111 w 3127876"/>
                <a:gd name="connsiteY142" fmla="*/ 859536 h 3127625"/>
                <a:gd name="connsiteX143" fmla="*/ 2261688 w 3127876"/>
                <a:gd name="connsiteY143" fmla="*/ 1550093 h 3127625"/>
                <a:gd name="connsiteX144" fmla="*/ 2489584 w 3127876"/>
                <a:gd name="connsiteY144" fmla="*/ 1786266 h 3127625"/>
                <a:gd name="connsiteX145" fmla="*/ 2605286 w 3127876"/>
                <a:gd name="connsiteY145" fmla="*/ 1823466 h 3127625"/>
                <a:gd name="connsiteX146" fmla="*/ 2643638 w 3127876"/>
                <a:gd name="connsiteY146" fmla="*/ 1805109 h 3127625"/>
                <a:gd name="connsiteX147" fmla="*/ 426724 w 3127876"/>
                <a:gd name="connsiteY147" fmla="*/ 1731726 h 3127625"/>
                <a:gd name="connsiteX148" fmla="*/ 815139 w 3127876"/>
                <a:gd name="connsiteY148" fmla="*/ 1067031 h 3127625"/>
                <a:gd name="connsiteX149" fmla="*/ 865650 w 3127876"/>
                <a:gd name="connsiteY149" fmla="*/ 830580 h 3127625"/>
                <a:gd name="connsiteX150" fmla="*/ 709681 w 3127876"/>
                <a:gd name="connsiteY150" fmla="*/ 794628 h 3127625"/>
                <a:gd name="connsiteX151" fmla="*/ 565225 w 3127876"/>
                <a:gd name="connsiteY151" fmla="*/ 717781 h 3127625"/>
                <a:gd name="connsiteX152" fmla="*/ 553006 w 3127876"/>
                <a:gd name="connsiteY152" fmla="*/ 872097 h 3127625"/>
                <a:gd name="connsiteX153" fmla="*/ 521466 w 3127876"/>
                <a:gd name="connsiteY153" fmla="*/ 1224234 h 3127625"/>
                <a:gd name="connsiteX154" fmla="*/ 321037 w 3127876"/>
                <a:gd name="connsiteY154" fmla="*/ 1750083 h 3127625"/>
                <a:gd name="connsiteX155" fmla="*/ 293367 w 3127876"/>
                <a:gd name="connsiteY155" fmla="*/ 1799428 h 3127625"/>
                <a:gd name="connsiteX156" fmla="*/ 326276 w 3127876"/>
                <a:gd name="connsiteY156" fmla="*/ 1801991 h 3127625"/>
                <a:gd name="connsiteX157" fmla="*/ 359186 w 3127876"/>
                <a:gd name="connsiteY157" fmla="*/ 1801991 h 3127625"/>
                <a:gd name="connsiteX158" fmla="*/ 2834752 w 3127876"/>
                <a:gd name="connsiteY158" fmla="*/ 1799451 h 3127625"/>
                <a:gd name="connsiteX159" fmla="*/ 2807091 w 3127876"/>
                <a:gd name="connsiteY159" fmla="*/ 1750083 h 3127625"/>
                <a:gd name="connsiteX160" fmla="*/ 2606649 w 3127876"/>
                <a:gd name="connsiteY160" fmla="*/ 1224234 h 3127625"/>
                <a:gd name="connsiteX161" fmla="*/ 2575108 w 3127876"/>
                <a:gd name="connsiteY161" fmla="*/ 872097 h 3127625"/>
                <a:gd name="connsiteX162" fmla="*/ 2562894 w 3127876"/>
                <a:gd name="connsiteY162" fmla="*/ 717781 h 3127625"/>
                <a:gd name="connsiteX163" fmla="*/ 2283392 w 3127876"/>
                <a:gd name="connsiteY163" fmla="*/ 827486 h 3127625"/>
                <a:gd name="connsiteX164" fmla="*/ 2260487 w 3127876"/>
                <a:gd name="connsiteY164" fmla="*/ 836584 h 3127625"/>
                <a:gd name="connsiteX165" fmla="*/ 2276327 w 3127876"/>
                <a:gd name="connsiteY165" fmla="*/ 920311 h 3127625"/>
                <a:gd name="connsiteX166" fmla="*/ 2701386 w 3127876"/>
                <a:gd name="connsiteY166" fmla="*/ 1731749 h 3127625"/>
                <a:gd name="connsiteX167" fmla="*/ 2768923 w 3127876"/>
                <a:gd name="connsiteY167" fmla="*/ 1802015 h 3127625"/>
                <a:gd name="connsiteX168" fmla="*/ 2801849 w 3127876"/>
                <a:gd name="connsiteY168" fmla="*/ 1802015 h 3127625"/>
                <a:gd name="connsiteX169" fmla="*/ 2834752 w 3127876"/>
                <a:gd name="connsiteY169" fmla="*/ 1799451 h 3127625"/>
                <a:gd name="connsiteX170" fmla="*/ 247778 w 3127876"/>
                <a:gd name="connsiteY170" fmla="*/ 1695081 h 3127625"/>
                <a:gd name="connsiteX171" fmla="*/ 455491 w 3127876"/>
                <a:gd name="connsiteY171" fmla="*/ 1062782 h 3127625"/>
                <a:gd name="connsiteX172" fmla="*/ 454909 w 3127876"/>
                <a:gd name="connsiteY172" fmla="*/ 684576 h 3127625"/>
                <a:gd name="connsiteX173" fmla="*/ 415664 w 3127876"/>
                <a:gd name="connsiteY173" fmla="*/ 553235 h 3127625"/>
                <a:gd name="connsiteX174" fmla="*/ 348734 w 3127876"/>
                <a:gd name="connsiteY174" fmla="*/ 402913 h 3127625"/>
                <a:gd name="connsiteX175" fmla="*/ 338484 w 3127876"/>
                <a:gd name="connsiteY175" fmla="*/ 369316 h 3127625"/>
                <a:gd name="connsiteX176" fmla="*/ 204811 w 3127876"/>
                <a:gd name="connsiteY176" fmla="*/ 369316 h 3127625"/>
                <a:gd name="connsiteX177" fmla="*/ 203259 w 3127876"/>
                <a:gd name="connsiteY177" fmla="*/ 1068578 h 3127625"/>
                <a:gd name="connsiteX178" fmla="*/ 207170 w 3127876"/>
                <a:gd name="connsiteY178" fmla="*/ 1761998 h 3127625"/>
                <a:gd name="connsiteX179" fmla="*/ 247781 w 3127876"/>
                <a:gd name="connsiteY179" fmla="*/ 1695081 h 3127625"/>
                <a:gd name="connsiteX180" fmla="*/ 2923647 w 3127876"/>
                <a:gd name="connsiteY180" fmla="*/ 373703 h 3127625"/>
                <a:gd name="connsiteX181" fmla="*/ 2855233 w 3127876"/>
                <a:gd name="connsiteY181" fmla="*/ 367584 h 3127625"/>
                <a:gd name="connsiteX182" fmla="*/ 2789796 w 3127876"/>
                <a:gd name="connsiteY182" fmla="*/ 369339 h 3127625"/>
                <a:gd name="connsiteX183" fmla="*/ 2779544 w 3127876"/>
                <a:gd name="connsiteY183" fmla="*/ 402936 h 3127625"/>
                <a:gd name="connsiteX184" fmla="*/ 2712977 w 3127876"/>
                <a:gd name="connsiteY184" fmla="*/ 552612 h 3127625"/>
                <a:gd name="connsiteX185" fmla="*/ 2676172 w 3127876"/>
                <a:gd name="connsiteY185" fmla="*/ 650356 h 3127625"/>
                <a:gd name="connsiteX186" fmla="*/ 2669660 w 3127876"/>
                <a:gd name="connsiteY186" fmla="*/ 1035974 h 3127625"/>
                <a:gd name="connsiteX187" fmla="*/ 2896263 w 3127876"/>
                <a:gd name="connsiteY187" fmla="*/ 1722443 h 3127625"/>
                <a:gd name="connsiteX188" fmla="*/ 2923486 w 3127876"/>
                <a:gd name="connsiteY188" fmla="*/ 1768140 h 3127625"/>
                <a:gd name="connsiteX189" fmla="*/ 2925056 w 3127876"/>
                <a:gd name="connsiteY189" fmla="*/ 1074836 h 3127625"/>
                <a:gd name="connsiteX190" fmla="*/ 2923647 w 3127876"/>
                <a:gd name="connsiteY190" fmla="*/ 373703 h 3127625"/>
                <a:gd name="connsiteX191" fmla="*/ 1661955 w 3127876"/>
                <a:gd name="connsiteY191" fmla="*/ 814486 h 3127625"/>
                <a:gd name="connsiteX192" fmla="*/ 1867985 w 3127876"/>
                <a:gd name="connsiteY192" fmla="*/ 714756 h 3127625"/>
                <a:gd name="connsiteX193" fmla="*/ 2020654 w 3127876"/>
                <a:gd name="connsiteY193" fmla="*/ 502158 h 3127625"/>
                <a:gd name="connsiteX194" fmla="*/ 2047369 w 3127876"/>
                <a:gd name="connsiteY194" fmla="*/ 370540 h 3127625"/>
                <a:gd name="connsiteX195" fmla="*/ 2000751 w 3127876"/>
                <a:gd name="connsiteY195" fmla="*/ 367492 h 3127625"/>
                <a:gd name="connsiteX196" fmla="*/ 1958935 w 3127876"/>
                <a:gd name="connsiteY196" fmla="*/ 369316 h 3127625"/>
                <a:gd name="connsiteX197" fmla="*/ 1951500 w 3127876"/>
                <a:gd name="connsiteY197" fmla="*/ 409679 h 3127625"/>
                <a:gd name="connsiteX198" fmla="*/ 1828016 w 3127876"/>
                <a:gd name="connsiteY198" fmla="*/ 630128 h 3127625"/>
                <a:gd name="connsiteX199" fmla="*/ 1682667 w 3127876"/>
                <a:gd name="connsiteY199" fmla="*/ 718520 h 3127625"/>
                <a:gd name="connsiteX200" fmla="*/ 1564209 w 3127876"/>
                <a:gd name="connsiteY200" fmla="*/ 735238 h 3127625"/>
                <a:gd name="connsiteX201" fmla="*/ 1445752 w 3127876"/>
                <a:gd name="connsiteY201" fmla="*/ 718520 h 3127625"/>
                <a:gd name="connsiteX202" fmla="*/ 1300393 w 3127876"/>
                <a:gd name="connsiteY202" fmla="*/ 630128 h 3127625"/>
                <a:gd name="connsiteX203" fmla="*/ 1176872 w 3127876"/>
                <a:gd name="connsiteY203" fmla="*/ 409032 h 3127625"/>
                <a:gd name="connsiteX204" fmla="*/ 1169491 w 3127876"/>
                <a:gd name="connsiteY204" fmla="*/ 369316 h 3127625"/>
                <a:gd name="connsiteX205" fmla="*/ 1127670 w 3127876"/>
                <a:gd name="connsiteY205" fmla="*/ 367492 h 3127625"/>
                <a:gd name="connsiteX206" fmla="*/ 1081054 w 3127876"/>
                <a:gd name="connsiteY206" fmla="*/ 370540 h 3127625"/>
                <a:gd name="connsiteX207" fmla="*/ 1112572 w 3127876"/>
                <a:gd name="connsiteY207" fmla="*/ 525295 h 3127625"/>
                <a:gd name="connsiteX208" fmla="*/ 1416202 w 3127876"/>
                <a:gd name="connsiteY208" fmla="*/ 806219 h 3127625"/>
                <a:gd name="connsiteX209" fmla="*/ 1661946 w 3127876"/>
                <a:gd name="connsiteY209" fmla="*/ 814486 h 3127625"/>
                <a:gd name="connsiteX210" fmla="*/ 1041880 w 3127876"/>
                <a:gd name="connsiteY210" fmla="*/ 718104 h 3127625"/>
                <a:gd name="connsiteX211" fmla="*/ 1098612 w 3127876"/>
                <a:gd name="connsiteY211" fmla="*/ 697230 h 3127625"/>
                <a:gd name="connsiteX212" fmla="*/ 1045711 w 3127876"/>
                <a:gd name="connsiteY212" fmla="*/ 620014 h 3127625"/>
                <a:gd name="connsiteX213" fmla="*/ 830882 w 3127876"/>
                <a:gd name="connsiteY213" fmla="*/ 638579 h 3127625"/>
                <a:gd name="connsiteX214" fmla="*/ 550457 w 3127876"/>
                <a:gd name="connsiteY214" fmla="*/ 416675 h 3127625"/>
                <a:gd name="connsiteX215" fmla="*/ 525326 w 3127876"/>
                <a:gd name="connsiteY215" fmla="*/ 366268 h 3127625"/>
                <a:gd name="connsiteX216" fmla="*/ 483739 w 3127876"/>
                <a:gd name="connsiteY216" fmla="*/ 366268 h 3127625"/>
                <a:gd name="connsiteX217" fmla="*/ 438585 w 3127876"/>
                <a:gd name="connsiteY217" fmla="*/ 369824 h 3127625"/>
                <a:gd name="connsiteX218" fmla="*/ 479932 w 3127876"/>
                <a:gd name="connsiteY218" fmla="*/ 481746 h 3127625"/>
                <a:gd name="connsiteX219" fmla="*/ 748304 w 3127876"/>
                <a:gd name="connsiteY219" fmla="*/ 712631 h 3127625"/>
                <a:gd name="connsiteX220" fmla="*/ 1041866 w 3127876"/>
                <a:gd name="connsiteY220" fmla="*/ 718104 h 3127625"/>
                <a:gd name="connsiteX221" fmla="*/ 2343126 w 3127876"/>
                <a:gd name="connsiteY221" fmla="*/ 724108 h 3127625"/>
                <a:gd name="connsiteX222" fmla="*/ 2529506 w 3127876"/>
                <a:gd name="connsiteY222" fmla="*/ 627403 h 3127625"/>
                <a:gd name="connsiteX223" fmla="*/ 2654860 w 3127876"/>
                <a:gd name="connsiteY223" fmla="*/ 470269 h 3127625"/>
                <a:gd name="connsiteX224" fmla="*/ 2689818 w 3127876"/>
                <a:gd name="connsiteY224" fmla="*/ 369824 h 3127625"/>
                <a:gd name="connsiteX225" fmla="*/ 2644585 w 3127876"/>
                <a:gd name="connsiteY225" fmla="*/ 366268 h 3127625"/>
                <a:gd name="connsiteX226" fmla="*/ 2602931 w 3127876"/>
                <a:gd name="connsiteY226" fmla="*/ 366268 h 3127625"/>
                <a:gd name="connsiteX227" fmla="*/ 2581896 w 3127876"/>
                <a:gd name="connsiteY227" fmla="*/ 408848 h 3127625"/>
                <a:gd name="connsiteX228" fmla="*/ 2433083 w 3127876"/>
                <a:gd name="connsiteY228" fmla="*/ 584246 h 3127625"/>
                <a:gd name="connsiteX229" fmla="*/ 2082696 w 3127876"/>
                <a:gd name="connsiteY229" fmla="*/ 620014 h 3127625"/>
                <a:gd name="connsiteX230" fmla="*/ 2029798 w 3127876"/>
                <a:gd name="connsiteY230" fmla="*/ 697114 h 3127625"/>
                <a:gd name="connsiteX231" fmla="*/ 2143099 w 3127876"/>
                <a:gd name="connsiteY231" fmla="*/ 733021 h 3127625"/>
                <a:gd name="connsiteX232" fmla="*/ 2343126 w 3127876"/>
                <a:gd name="connsiteY232" fmla="*/ 724108 h 3127625"/>
                <a:gd name="connsiteX233" fmla="*/ 1634201 w 3127876"/>
                <a:gd name="connsiteY233" fmla="*/ 637956 h 3127625"/>
                <a:gd name="connsiteX234" fmla="*/ 1777820 w 3127876"/>
                <a:gd name="connsiteY234" fmla="*/ 552335 h 3127625"/>
                <a:gd name="connsiteX235" fmla="*/ 1861243 w 3127876"/>
                <a:gd name="connsiteY235" fmla="*/ 395293 h 3127625"/>
                <a:gd name="connsiteX236" fmla="*/ 1865214 w 3127876"/>
                <a:gd name="connsiteY236" fmla="*/ 366268 h 3127625"/>
                <a:gd name="connsiteX237" fmla="*/ 1263191 w 3127876"/>
                <a:gd name="connsiteY237" fmla="*/ 366268 h 3127625"/>
                <a:gd name="connsiteX238" fmla="*/ 1267146 w 3127876"/>
                <a:gd name="connsiteY238" fmla="*/ 395293 h 3127625"/>
                <a:gd name="connsiteX239" fmla="*/ 1350588 w 3127876"/>
                <a:gd name="connsiteY239" fmla="*/ 552335 h 3127625"/>
                <a:gd name="connsiteX240" fmla="*/ 1634199 w 3127876"/>
                <a:gd name="connsiteY240" fmla="*/ 637956 h 3127625"/>
                <a:gd name="connsiteX241" fmla="*/ 974181 w 3127876"/>
                <a:gd name="connsiteY241" fmla="*/ 546377 h 3127625"/>
                <a:gd name="connsiteX242" fmla="*/ 1013965 w 3127876"/>
                <a:gd name="connsiteY242" fmla="*/ 534531 h 3127625"/>
                <a:gd name="connsiteX243" fmla="*/ 1004172 w 3127876"/>
                <a:gd name="connsiteY243" fmla="*/ 472047 h 3127625"/>
                <a:gd name="connsiteX244" fmla="*/ 986775 w 3127876"/>
                <a:gd name="connsiteY244" fmla="*/ 389174 h 3127625"/>
                <a:gd name="connsiteX245" fmla="*/ 983283 w 3127876"/>
                <a:gd name="connsiteY245" fmla="*/ 366268 h 3127625"/>
                <a:gd name="connsiteX246" fmla="*/ 806395 w 3127876"/>
                <a:gd name="connsiteY246" fmla="*/ 366268 h 3127625"/>
                <a:gd name="connsiteX247" fmla="*/ 629565 w 3127876"/>
                <a:gd name="connsiteY247" fmla="*/ 370840 h 3127625"/>
                <a:gd name="connsiteX248" fmla="*/ 700919 w 3127876"/>
                <a:gd name="connsiteY248" fmla="*/ 470939 h 3127625"/>
                <a:gd name="connsiteX249" fmla="*/ 974186 w 3127876"/>
                <a:gd name="connsiteY249" fmla="*/ 546377 h 3127625"/>
                <a:gd name="connsiteX250" fmla="*/ 2293067 w 3127876"/>
                <a:gd name="connsiteY250" fmla="*/ 546562 h 3127625"/>
                <a:gd name="connsiteX251" fmla="*/ 2427495 w 3127876"/>
                <a:gd name="connsiteY251" fmla="*/ 470939 h 3127625"/>
                <a:gd name="connsiteX252" fmla="*/ 2498843 w 3127876"/>
                <a:gd name="connsiteY252" fmla="*/ 370863 h 3127625"/>
                <a:gd name="connsiteX253" fmla="*/ 2322022 w 3127876"/>
                <a:gd name="connsiteY253" fmla="*/ 366268 h 3127625"/>
                <a:gd name="connsiteX254" fmla="*/ 2145131 w 3127876"/>
                <a:gd name="connsiteY254" fmla="*/ 366268 h 3127625"/>
                <a:gd name="connsiteX255" fmla="*/ 2141644 w 3127876"/>
                <a:gd name="connsiteY255" fmla="*/ 389174 h 3127625"/>
                <a:gd name="connsiteX256" fmla="*/ 2124235 w 3127876"/>
                <a:gd name="connsiteY256" fmla="*/ 472047 h 3127625"/>
                <a:gd name="connsiteX257" fmla="*/ 2114583 w 3127876"/>
                <a:gd name="connsiteY257" fmla="*/ 534624 h 3127625"/>
                <a:gd name="connsiteX258" fmla="*/ 2151550 w 3127876"/>
                <a:gd name="connsiteY258" fmla="*/ 546054 h 3127625"/>
                <a:gd name="connsiteX259" fmla="*/ 2293067 w 3127876"/>
                <a:gd name="connsiteY259" fmla="*/ 546562 h 3127625"/>
                <a:gd name="connsiteX260" fmla="*/ 3029837 w 3127876"/>
                <a:gd name="connsiteY260" fmla="*/ 272265 h 3127625"/>
                <a:gd name="connsiteX261" fmla="*/ 3035171 w 3127876"/>
                <a:gd name="connsiteY261" fmla="*/ 179093 h 3127625"/>
                <a:gd name="connsiteX262" fmla="*/ 3033462 w 3127876"/>
                <a:gd name="connsiteY262" fmla="*/ 94396 h 3127625"/>
                <a:gd name="connsiteX263" fmla="*/ 95063 w 3127876"/>
                <a:gd name="connsiteY263" fmla="*/ 94396 h 3127625"/>
                <a:gd name="connsiteX264" fmla="*/ 93359 w 3127876"/>
                <a:gd name="connsiteY264" fmla="*/ 179093 h 3127625"/>
                <a:gd name="connsiteX265" fmla="*/ 98690 w 3127876"/>
                <a:gd name="connsiteY265" fmla="*/ 272265 h 3127625"/>
                <a:gd name="connsiteX266" fmla="*/ 3029930 w 3127876"/>
                <a:gd name="connsiteY266" fmla="*/ 272265 h 312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Lst>
              <a:rect l="l" t="t" r="r" b="b"/>
              <a:pathLst>
                <a:path w="3127876" h="3127625">
                  <a:moveTo>
                    <a:pt x="64146" y="3116280"/>
                  </a:moveTo>
                  <a:cubicBezTo>
                    <a:pt x="9802" y="3091319"/>
                    <a:pt x="0" y="3064464"/>
                    <a:pt x="0" y="2940512"/>
                  </a:cubicBezTo>
                  <a:cubicBezTo>
                    <a:pt x="0" y="2855653"/>
                    <a:pt x="1482" y="2841429"/>
                    <a:pt x="12743" y="2818153"/>
                  </a:cubicBezTo>
                  <a:cubicBezTo>
                    <a:pt x="28167" y="2786288"/>
                    <a:pt x="53416" y="2767168"/>
                    <a:pt x="85815" y="2762827"/>
                  </a:cubicBezTo>
                  <a:lnTo>
                    <a:pt x="109965" y="2759595"/>
                  </a:lnTo>
                  <a:lnTo>
                    <a:pt x="109965" y="2113903"/>
                  </a:lnTo>
                  <a:lnTo>
                    <a:pt x="90110" y="2103905"/>
                  </a:lnTo>
                  <a:cubicBezTo>
                    <a:pt x="-6054" y="2055437"/>
                    <a:pt x="-28964" y="1928391"/>
                    <a:pt x="45106" y="1854338"/>
                  </a:cubicBezTo>
                  <a:cubicBezTo>
                    <a:pt x="58937" y="1840507"/>
                    <a:pt x="79189" y="1825498"/>
                    <a:pt x="90110" y="1820972"/>
                  </a:cubicBezTo>
                  <a:lnTo>
                    <a:pt x="109965" y="1812752"/>
                  </a:lnTo>
                  <a:lnTo>
                    <a:pt x="109965" y="366291"/>
                  </a:lnTo>
                  <a:lnTo>
                    <a:pt x="93165" y="366199"/>
                  </a:lnTo>
                  <a:cubicBezTo>
                    <a:pt x="65469" y="366037"/>
                    <a:pt x="29841" y="341514"/>
                    <a:pt x="14205" y="311866"/>
                  </a:cubicBezTo>
                  <a:cubicBezTo>
                    <a:pt x="1067" y="286974"/>
                    <a:pt x="0" y="277668"/>
                    <a:pt x="0" y="187960"/>
                  </a:cubicBezTo>
                  <a:cubicBezTo>
                    <a:pt x="0" y="62923"/>
                    <a:pt x="9695" y="36230"/>
                    <a:pt x="64146" y="11222"/>
                  </a:cubicBezTo>
                  <a:cubicBezTo>
                    <a:pt x="87644" y="416"/>
                    <a:pt x="145218" y="0"/>
                    <a:pt x="1563939" y="0"/>
                  </a:cubicBezTo>
                  <a:cubicBezTo>
                    <a:pt x="2982665" y="0"/>
                    <a:pt x="3040228" y="416"/>
                    <a:pt x="3063733" y="11222"/>
                  </a:cubicBezTo>
                  <a:cubicBezTo>
                    <a:pt x="3118178" y="36206"/>
                    <a:pt x="3127876" y="62923"/>
                    <a:pt x="3127876" y="187960"/>
                  </a:cubicBezTo>
                  <a:cubicBezTo>
                    <a:pt x="3127876" y="277668"/>
                    <a:pt x="3126814" y="286974"/>
                    <a:pt x="3113676" y="311866"/>
                  </a:cubicBezTo>
                  <a:cubicBezTo>
                    <a:pt x="3098044" y="341514"/>
                    <a:pt x="3062417" y="366014"/>
                    <a:pt x="3034709" y="366199"/>
                  </a:cubicBezTo>
                  <a:lnTo>
                    <a:pt x="3017923" y="366291"/>
                  </a:lnTo>
                  <a:lnTo>
                    <a:pt x="3017923" y="1812752"/>
                  </a:lnTo>
                  <a:lnTo>
                    <a:pt x="3037780" y="1820972"/>
                  </a:lnTo>
                  <a:cubicBezTo>
                    <a:pt x="3048679" y="1825498"/>
                    <a:pt x="3069159" y="1840738"/>
                    <a:pt x="3083290" y="1854846"/>
                  </a:cubicBezTo>
                  <a:cubicBezTo>
                    <a:pt x="3155769" y="1927329"/>
                    <a:pt x="3134018" y="2054006"/>
                    <a:pt x="3040828" y="2102035"/>
                  </a:cubicBezTo>
                  <a:lnTo>
                    <a:pt x="3017923" y="2113834"/>
                  </a:lnTo>
                  <a:lnTo>
                    <a:pt x="3017923" y="2761188"/>
                  </a:lnTo>
                  <a:lnTo>
                    <a:pt x="3034709" y="2761280"/>
                  </a:lnTo>
                  <a:cubicBezTo>
                    <a:pt x="3062417" y="2761442"/>
                    <a:pt x="3098044" y="2785964"/>
                    <a:pt x="3113676" y="2815613"/>
                  </a:cubicBezTo>
                  <a:cubicBezTo>
                    <a:pt x="3126860" y="2840598"/>
                    <a:pt x="3127876" y="2849603"/>
                    <a:pt x="3127738" y="2940858"/>
                  </a:cubicBezTo>
                  <a:cubicBezTo>
                    <a:pt x="3127576" y="3067627"/>
                    <a:pt x="3117370" y="3094020"/>
                    <a:pt x="3059115" y="3118358"/>
                  </a:cubicBezTo>
                  <a:cubicBezTo>
                    <a:pt x="3039096" y="3126717"/>
                    <a:pt x="2875482" y="3127733"/>
                    <a:pt x="1562609" y="3127617"/>
                  </a:cubicBezTo>
                  <a:cubicBezTo>
                    <a:pt x="145338" y="3127479"/>
                    <a:pt x="87637" y="3127063"/>
                    <a:pt x="64132" y="3116257"/>
                  </a:cubicBezTo>
                  <a:close/>
                  <a:moveTo>
                    <a:pt x="3034871" y="2948386"/>
                  </a:moveTo>
                  <a:cubicBezTo>
                    <a:pt x="3036025" y="2891143"/>
                    <a:pt x="3034294" y="2860941"/>
                    <a:pt x="3029537" y="2855214"/>
                  </a:cubicBezTo>
                  <a:cubicBezTo>
                    <a:pt x="3023649" y="2848102"/>
                    <a:pt x="2944636" y="2846740"/>
                    <a:pt x="2544122" y="2846740"/>
                  </a:cubicBezTo>
                  <a:lnTo>
                    <a:pt x="2065749" y="2846740"/>
                  </a:lnTo>
                  <a:lnTo>
                    <a:pt x="2053095" y="2830645"/>
                  </a:lnTo>
                  <a:cubicBezTo>
                    <a:pt x="2037117" y="2810325"/>
                    <a:pt x="2037117" y="2797602"/>
                    <a:pt x="2053095" y="2777305"/>
                  </a:cubicBezTo>
                  <a:lnTo>
                    <a:pt x="2065749" y="2761211"/>
                  </a:lnTo>
                  <a:lnTo>
                    <a:pt x="2205603" y="2761211"/>
                  </a:lnTo>
                  <a:cubicBezTo>
                    <a:pt x="2335552" y="2761211"/>
                    <a:pt x="2345896" y="2760403"/>
                    <a:pt x="2351530" y="2749873"/>
                  </a:cubicBezTo>
                  <a:cubicBezTo>
                    <a:pt x="2354855" y="2743639"/>
                    <a:pt x="2384064" y="2675590"/>
                    <a:pt x="2416412" y="2598651"/>
                  </a:cubicBezTo>
                  <a:cubicBezTo>
                    <a:pt x="2448784" y="2521735"/>
                    <a:pt x="2510942" y="2384552"/>
                    <a:pt x="2554581" y="2293828"/>
                  </a:cubicBezTo>
                  <a:cubicBezTo>
                    <a:pt x="2598221" y="2203104"/>
                    <a:pt x="2635095" y="2126142"/>
                    <a:pt x="2636550" y="2122770"/>
                  </a:cubicBezTo>
                  <a:cubicBezTo>
                    <a:pt x="2638005" y="2119422"/>
                    <a:pt x="2627129" y="2111710"/>
                    <a:pt x="2612375" y="2105660"/>
                  </a:cubicBezTo>
                  <a:cubicBezTo>
                    <a:pt x="2553473" y="2081484"/>
                    <a:pt x="2519993" y="2029968"/>
                    <a:pt x="2519993" y="1963466"/>
                  </a:cubicBezTo>
                  <a:lnTo>
                    <a:pt x="2519993" y="1920240"/>
                  </a:lnTo>
                  <a:lnTo>
                    <a:pt x="2474183" y="1889044"/>
                  </a:lnTo>
                  <a:cubicBezTo>
                    <a:pt x="2293205" y="1765808"/>
                    <a:pt x="2105232" y="1524900"/>
                    <a:pt x="1991284" y="1270162"/>
                  </a:cubicBezTo>
                  <a:cubicBezTo>
                    <a:pt x="1938778" y="1152791"/>
                    <a:pt x="1863275" y="906595"/>
                    <a:pt x="1863275" y="852793"/>
                  </a:cubicBezTo>
                  <a:cubicBezTo>
                    <a:pt x="1863275" y="839701"/>
                    <a:pt x="1856163" y="840232"/>
                    <a:pt x="1830787" y="855195"/>
                  </a:cubicBezTo>
                  <a:cubicBezTo>
                    <a:pt x="1770638" y="890709"/>
                    <a:pt x="1645021" y="922274"/>
                    <a:pt x="1563928" y="922274"/>
                  </a:cubicBezTo>
                  <a:cubicBezTo>
                    <a:pt x="1482144" y="922274"/>
                    <a:pt x="1365374" y="893272"/>
                    <a:pt x="1303198" y="857527"/>
                  </a:cubicBezTo>
                  <a:cubicBezTo>
                    <a:pt x="1289160" y="849445"/>
                    <a:pt x="1275038" y="842841"/>
                    <a:pt x="1271819" y="842841"/>
                  </a:cubicBezTo>
                  <a:cubicBezTo>
                    <a:pt x="1268599" y="842841"/>
                    <a:pt x="1264110" y="855195"/>
                    <a:pt x="1261845" y="870296"/>
                  </a:cubicBezTo>
                  <a:cubicBezTo>
                    <a:pt x="1255675" y="911444"/>
                    <a:pt x="1218191" y="1055670"/>
                    <a:pt x="1203370" y="1095294"/>
                  </a:cubicBezTo>
                  <a:cubicBezTo>
                    <a:pt x="1185367" y="1143416"/>
                    <a:pt x="1160137" y="1154869"/>
                    <a:pt x="1127945" y="1129538"/>
                  </a:cubicBezTo>
                  <a:cubicBezTo>
                    <a:pt x="1106984" y="1113051"/>
                    <a:pt x="1107462" y="1101736"/>
                    <a:pt x="1132799" y="1014545"/>
                  </a:cubicBezTo>
                  <a:cubicBezTo>
                    <a:pt x="1164291" y="906180"/>
                    <a:pt x="1188158" y="783567"/>
                    <a:pt x="1179738" y="773407"/>
                  </a:cubicBezTo>
                  <a:cubicBezTo>
                    <a:pt x="1174102" y="766618"/>
                    <a:pt x="1163591" y="768904"/>
                    <a:pt x="1120058" y="786384"/>
                  </a:cubicBezTo>
                  <a:cubicBezTo>
                    <a:pt x="1090997" y="798045"/>
                    <a:pt x="1043591" y="812384"/>
                    <a:pt x="1014708" y="818226"/>
                  </a:cubicBezTo>
                  <a:lnTo>
                    <a:pt x="962195" y="828848"/>
                  </a:lnTo>
                  <a:lnTo>
                    <a:pt x="942862" y="925045"/>
                  </a:lnTo>
                  <a:cubicBezTo>
                    <a:pt x="882933" y="1223218"/>
                    <a:pt x="764374" y="1473408"/>
                    <a:pt x="572942" y="1705656"/>
                  </a:cubicBezTo>
                  <a:cubicBezTo>
                    <a:pt x="547257" y="1736829"/>
                    <a:pt x="516467" y="1771742"/>
                    <a:pt x="504520" y="1783265"/>
                  </a:cubicBezTo>
                  <a:lnTo>
                    <a:pt x="482797" y="1804231"/>
                  </a:lnTo>
                  <a:lnTo>
                    <a:pt x="520877" y="1822981"/>
                  </a:lnTo>
                  <a:cubicBezTo>
                    <a:pt x="565327" y="1844871"/>
                    <a:pt x="560487" y="1846372"/>
                    <a:pt x="638376" y="1786336"/>
                  </a:cubicBezTo>
                  <a:cubicBezTo>
                    <a:pt x="769768" y="1685013"/>
                    <a:pt x="922772" y="1494559"/>
                    <a:pt x="1006149" y="1328559"/>
                  </a:cubicBezTo>
                  <a:cubicBezTo>
                    <a:pt x="1040871" y="1259401"/>
                    <a:pt x="1047300" y="1252174"/>
                    <a:pt x="1074125" y="1252174"/>
                  </a:cubicBezTo>
                  <a:cubicBezTo>
                    <a:pt x="1127479" y="1252174"/>
                    <a:pt x="1131344" y="1290320"/>
                    <a:pt x="1086458" y="1373817"/>
                  </a:cubicBezTo>
                  <a:cubicBezTo>
                    <a:pt x="969831" y="1590779"/>
                    <a:pt x="808665" y="1782503"/>
                    <a:pt x="653271" y="1889090"/>
                  </a:cubicBezTo>
                  <a:lnTo>
                    <a:pt x="607061" y="1920794"/>
                  </a:lnTo>
                  <a:lnTo>
                    <a:pt x="609749" y="1953214"/>
                  </a:lnTo>
                  <a:cubicBezTo>
                    <a:pt x="614753" y="2013527"/>
                    <a:pt x="574376" y="2080075"/>
                    <a:pt x="517866" y="2104667"/>
                  </a:cubicBezTo>
                  <a:cubicBezTo>
                    <a:pt x="503513" y="2110902"/>
                    <a:pt x="490911" y="2116559"/>
                    <a:pt x="489860" y="2117229"/>
                  </a:cubicBezTo>
                  <a:cubicBezTo>
                    <a:pt x="488812" y="2117898"/>
                    <a:pt x="500569" y="2143575"/>
                    <a:pt x="515989" y="2174286"/>
                  </a:cubicBezTo>
                  <a:cubicBezTo>
                    <a:pt x="575313" y="2292419"/>
                    <a:pt x="657187" y="2470473"/>
                    <a:pt x="712554" y="2601745"/>
                  </a:cubicBezTo>
                  <a:cubicBezTo>
                    <a:pt x="744291" y="2676998"/>
                    <a:pt x="772984" y="2743662"/>
                    <a:pt x="776321" y="2749897"/>
                  </a:cubicBezTo>
                  <a:cubicBezTo>
                    <a:pt x="782160" y="2760795"/>
                    <a:pt x="803123" y="2761234"/>
                    <a:pt x="1338094" y="2761234"/>
                  </a:cubicBezTo>
                  <a:cubicBezTo>
                    <a:pt x="1885672" y="2761234"/>
                    <a:pt x="1894007" y="2761419"/>
                    <a:pt x="1906037" y="2773449"/>
                  </a:cubicBezTo>
                  <a:cubicBezTo>
                    <a:pt x="1912825" y="2780238"/>
                    <a:pt x="1918251" y="2793815"/>
                    <a:pt x="1918251" y="2803998"/>
                  </a:cubicBezTo>
                  <a:cubicBezTo>
                    <a:pt x="1918251" y="2814182"/>
                    <a:pt x="1912825" y="2827759"/>
                    <a:pt x="1906037" y="2834548"/>
                  </a:cubicBezTo>
                  <a:cubicBezTo>
                    <a:pt x="1893915" y="2846647"/>
                    <a:pt x="1885672" y="2846763"/>
                    <a:pt x="1000037" y="2846763"/>
                  </a:cubicBezTo>
                  <a:cubicBezTo>
                    <a:pt x="313025" y="2846763"/>
                    <a:pt x="104571" y="2848448"/>
                    <a:pt x="98937" y="2854083"/>
                  </a:cubicBezTo>
                  <a:cubicBezTo>
                    <a:pt x="91050" y="2861980"/>
                    <a:pt x="88087" y="3024494"/>
                    <a:pt x="95693" y="3032090"/>
                  </a:cubicBezTo>
                  <a:cubicBezTo>
                    <a:pt x="97940" y="3034330"/>
                    <a:pt x="759800" y="3035485"/>
                    <a:pt x="1566463" y="3034630"/>
                  </a:cubicBezTo>
                  <a:lnTo>
                    <a:pt x="3033162" y="3033107"/>
                  </a:lnTo>
                  <a:close/>
                  <a:moveTo>
                    <a:pt x="387171" y="2756454"/>
                  </a:moveTo>
                  <a:cubicBezTo>
                    <a:pt x="395712" y="2742646"/>
                    <a:pt x="321774" y="2426324"/>
                    <a:pt x="269737" y="2254042"/>
                  </a:cubicBezTo>
                  <a:cubicBezTo>
                    <a:pt x="229907" y="2122193"/>
                    <a:pt x="228877" y="2119699"/>
                    <a:pt x="214056" y="2119699"/>
                  </a:cubicBezTo>
                  <a:cubicBezTo>
                    <a:pt x="201795" y="2119699"/>
                    <a:pt x="201687" y="2122493"/>
                    <a:pt x="201687" y="2436368"/>
                  </a:cubicBezTo>
                  <a:cubicBezTo>
                    <a:pt x="201687" y="2610543"/>
                    <a:pt x="203520" y="2754884"/>
                    <a:pt x="205760" y="2757124"/>
                  </a:cubicBezTo>
                  <a:cubicBezTo>
                    <a:pt x="211497" y="2762874"/>
                    <a:pt x="383604" y="2762227"/>
                    <a:pt x="387173" y="2756454"/>
                  </a:cubicBezTo>
                  <a:close/>
                  <a:moveTo>
                    <a:pt x="678194" y="2758232"/>
                  </a:moveTo>
                  <a:cubicBezTo>
                    <a:pt x="678194" y="2751790"/>
                    <a:pt x="601451" y="2569787"/>
                    <a:pt x="561711" y="2481950"/>
                  </a:cubicBezTo>
                  <a:cubicBezTo>
                    <a:pt x="538589" y="2430849"/>
                    <a:pt x="489348" y="2328441"/>
                    <a:pt x="452286" y="2254366"/>
                  </a:cubicBezTo>
                  <a:lnTo>
                    <a:pt x="384901" y="2119699"/>
                  </a:lnTo>
                  <a:lnTo>
                    <a:pt x="353728" y="2119699"/>
                  </a:lnTo>
                  <a:cubicBezTo>
                    <a:pt x="326750" y="2119699"/>
                    <a:pt x="323097" y="2121108"/>
                    <a:pt x="326590" y="2130206"/>
                  </a:cubicBezTo>
                  <a:cubicBezTo>
                    <a:pt x="366644" y="2234600"/>
                    <a:pt x="447232" y="2555610"/>
                    <a:pt x="479241" y="2738282"/>
                  </a:cubicBezTo>
                  <a:lnTo>
                    <a:pt x="483257" y="2761211"/>
                  </a:lnTo>
                  <a:lnTo>
                    <a:pt x="580725" y="2761211"/>
                  </a:lnTo>
                  <a:cubicBezTo>
                    <a:pt x="634333" y="2761211"/>
                    <a:pt x="678194" y="2759872"/>
                    <a:pt x="678194" y="2758232"/>
                  </a:cubicBezTo>
                  <a:close/>
                  <a:moveTo>
                    <a:pt x="2645347" y="2759317"/>
                  </a:moveTo>
                  <a:cubicBezTo>
                    <a:pt x="2645347" y="2751143"/>
                    <a:pt x="2672547" y="2612967"/>
                    <a:pt x="2688294" y="2541270"/>
                  </a:cubicBezTo>
                  <a:cubicBezTo>
                    <a:pt x="2710114" y="2441771"/>
                    <a:pt x="2765090" y="2237925"/>
                    <a:pt x="2788665" y="2169044"/>
                  </a:cubicBezTo>
                  <a:cubicBezTo>
                    <a:pt x="2797208" y="2144083"/>
                    <a:pt x="2804181" y="2122794"/>
                    <a:pt x="2804181" y="2121685"/>
                  </a:cubicBezTo>
                  <a:cubicBezTo>
                    <a:pt x="2804181" y="2120600"/>
                    <a:pt x="2790281" y="2119723"/>
                    <a:pt x="2773264" y="2119723"/>
                  </a:cubicBezTo>
                  <a:lnTo>
                    <a:pt x="2742347" y="2119723"/>
                  </a:lnTo>
                  <a:lnTo>
                    <a:pt x="2654490" y="2298423"/>
                  </a:lnTo>
                  <a:cubicBezTo>
                    <a:pt x="2580396" y="2449091"/>
                    <a:pt x="2468665" y="2698519"/>
                    <a:pt x="2453333" y="2747472"/>
                  </a:cubicBezTo>
                  <a:lnTo>
                    <a:pt x="2449038" y="2761211"/>
                  </a:lnTo>
                  <a:lnTo>
                    <a:pt x="2547192" y="2761211"/>
                  </a:lnTo>
                  <a:cubicBezTo>
                    <a:pt x="2601176" y="2761211"/>
                    <a:pt x="2645347" y="2760356"/>
                    <a:pt x="2645347" y="2759341"/>
                  </a:cubicBezTo>
                  <a:close/>
                  <a:moveTo>
                    <a:pt x="2924894" y="2438908"/>
                  </a:moveTo>
                  <a:cubicBezTo>
                    <a:pt x="2926465" y="2121477"/>
                    <a:pt x="2926418" y="2119699"/>
                    <a:pt x="2914042" y="2119699"/>
                  </a:cubicBezTo>
                  <a:cubicBezTo>
                    <a:pt x="2899334" y="2119699"/>
                    <a:pt x="2898895" y="2120762"/>
                    <a:pt x="2859158" y="2250579"/>
                  </a:cubicBezTo>
                  <a:cubicBezTo>
                    <a:pt x="2808430" y="2416302"/>
                    <a:pt x="2732257" y="2742484"/>
                    <a:pt x="2740985" y="2756616"/>
                  </a:cubicBezTo>
                  <a:cubicBezTo>
                    <a:pt x="2742647" y="2759317"/>
                    <a:pt x="2784347" y="2760772"/>
                    <a:pt x="2833667" y="2759849"/>
                  </a:cubicBezTo>
                  <a:lnTo>
                    <a:pt x="2923324" y="2758163"/>
                  </a:lnTo>
                  <a:close/>
                  <a:moveTo>
                    <a:pt x="498625" y="2007270"/>
                  </a:moveTo>
                  <a:cubicBezTo>
                    <a:pt x="532230" y="1973672"/>
                    <a:pt x="524749" y="1925458"/>
                    <a:pt x="482656" y="1904353"/>
                  </a:cubicBezTo>
                  <a:cubicBezTo>
                    <a:pt x="464064" y="1895025"/>
                    <a:pt x="441746" y="1893662"/>
                    <a:pt x="306906" y="1893639"/>
                  </a:cubicBezTo>
                  <a:cubicBezTo>
                    <a:pt x="132341" y="1893639"/>
                    <a:pt x="117282" y="1896456"/>
                    <a:pt x="100173" y="1932340"/>
                  </a:cubicBezTo>
                  <a:cubicBezTo>
                    <a:pt x="86425" y="1961157"/>
                    <a:pt x="92906" y="1992237"/>
                    <a:pt x="116866" y="2012396"/>
                  </a:cubicBezTo>
                  <a:lnTo>
                    <a:pt x="135456" y="2028052"/>
                  </a:lnTo>
                  <a:lnTo>
                    <a:pt x="477854" y="2028052"/>
                  </a:lnTo>
                  <a:close/>
                  <a:moveTo>
                    <a:pt x="3011250" y="2012396"/>
                  </a:moveTo>
                  <a:cubicBezTo>
                    <a:pt x="3035217" y="1992237"/>
                    <a:pt x="3041682" y="1961157"/>
                    <a:pt x="3027944" y="1932340"/>
                  </a:cubicBezTo>
                  <a:cubicBezTo>
                    <a:pt x="3010834" y="1896456"/>
                    <a:pt x="2995780" y="1893639"/>
                    <a:pt x="2821222" y="1893639"/>
                  </a:cubicBezTo>
                  <a:cubicBezTo>
                    <a:pt x="2686377" y="1893662"/>
                    <a:pt x="2664050" y="1895025"/>
                    <a:pt x="2645463" y="1904353"/>
                  </a:cubicBezTo>
                  <a:cubicBezTo>
                    <a:pt x="2603370" y="1925458"/>
                    <a:pt x="2595889" y="1973672"/>
                    <a:pt x="2629484" y="2007270"/>
                  </a:cubicBezTo>
                  <a:lnTo>
                    <a:pt x="2650265" y="2028052"/>
                  </a:lnTo>
                  <a:lnTo>
                    <a:pt x="2992663" y="2028052"/>
                  </a:lnTo>
                  <a:close/>
                  <a:moveTo>
                    <a:pt x="2601153" y="1759250"/>
                  </a:moveTo>
                  <a:cubicBezTo>
                    <a:pt x="2577787" y="1734035"/>
                    <a:pt x="2534770" y="1681803"/>
                    <a:pt x="2505585" y="1643149"/>
                  </a:cubicBezTo>
                  <a:cubicBezTo>
                    <a:pt x="2333959" y="1415981"/>
                    <a:pt x="2228647" y="1171079"/>
                    <a:pt x="2173555" y="870897"/>
                  </a:cubicBezTo>
                  <a:lnTo>
                    <a:pt x="2165819" y="828733"/>
                  </a:lnTo>
                  <a:lnTo>
                    <a:pt x="2113290" y="818157"/>
                  </a:lnTo>
                  <a:cubicBezTo>
                    <a:pt x="2084405" y="812338"/>
                    <a:pt x="2036979" y="798022"/>
                    <a:pt x="2007932" y="786338"/>
                  </a:cubicBezTo>
                  <a:cubicBezTo>
                    <a:pt x="1937393" y="758028"/>
                    <a:pt x="1936862" y="758767"/>
                    <a:pt x="1957111" y="859536"/>
                  </a:cubicBezTo>
                  <a:cubicBezTo>
                    <a:pt x="2009017" y="1118085"/>
                    <a:pt x="2111051" y="1349410"/>
                    <a:pt x="2261688" y="1550093"/>
                  </a:cubicBezTo>
                  <a:cubicBezTo>
                    <a:pt x="2318373" y="1625646"/>
                    <a:pt x="2426433" y="1737591"/>
                    <a:pt x="2489584" y="1786266"/>
                  </a:cubicBezTo>
                  <a:cubicBezTo>
                    <a:pt x="2568597" y="1847134"/>
                    <a:pt x="2560931" y="1844686"/>
                    <a:pt x="2605286" y="1823466"/>
                  </a:cubicBezTo>
                  <a:lnTo>
                    <a:pt x="2643638" y="1805109"/>
                  </a:lnTo>
                  <a:close/>
                  <a:moveTo>
                    <a:pt x="426724" y="1731726"/>
                  </a:moveTo>
                  <a:cubicBezTo>
                    <a:pt x="604438" y="1546860"/>
                    <a:pt x="740467" y="1314057"/>
                    <a:pt x="815139" y="1067031"/>
                  </a:cubicBezTo>
                  <a:cubicBezTo>
                    <a:pt x="838621" y="989353"/>
                    <a:pt x="872536" y="830580"/>
                    <a:pt x="865650" y="830580"/>
                  </a:cubicBezTo>
                  <a:cubicBezTo>
                    <a:pt x="844163" y="830580"/>
                    <a:pt x="746560" y="808089"/>
                    <a:pt x="709681" y="794628"/>
                  </a:cubicBezTo>
                  <a:cubicBezTo>
                    <a:pt x="667243" y="779133"/>
                    <a:pt x="602189" y="744520"/>
                    <a:pt x="565225" y="717781"/>
                  </a:cubicBezTo>
                  <a:cubicBezTo>
                    <a:pt x="553091" y="709006"/>
                    <a:pt x="553006" y="710069"/>
                    <a:pt x="553006" y="872097"/>
                  </a:cubicBezTo>
                  <a:cubicBezTo>
                    <a:pt x="553006" y="1044032"/>
                    <a:pt x="548460" y="1094786"/>
                    <a:pt x="521466" y="1224234"/>
                  </a:cubicBezTo>
                  <a:cubicBezTo>
                    <a:pt x="482158" y="1412748"/>
                    <a:pt x="412627" y="1595166"/>
                    <a:pt x="321037" y="1750083"/>
                  </a:cubicBezTo>
                  <a:cubicBezTo>
                    <a:pt x="305819" y="1775829"/>
                    <a:pt x="293367" y="1798043"/>
                    <a:pt x="293367" y="1799428"/>
                  </a:cubicBezTo>
                  <a:cubicBezTo>
                    <a:pt x="293367" y="1800837"/>
                    <a:pt x="308176" y="1801991"/>
                    <a:pt x="326276" y="1801991"/>
                  </a:cubicBezTo>
                  <a:lnTo>
                    <a:pt x="359186" y="1801991"/>
                  </a:lnTo>
                  <a:close/>
                  <a:moveTo>
                    <a:pt x="2834752" y="1799451"/>
                  </a:moveTo>
                  <a:cubicBezTo>
                    <a:pt x="2834752" y="1798043"/>
                    <a:pt x="2822307" y="1775829"/>
                    <a:pt x="2807091" y="1750083"/>
                  </a:cubicBezTo>
                  <a:cubicBezTo>
                    <a:pt x="2715493" y="1595166"/>
                    <a:pt x="2645970" y="1412725"/>
                    <a:pt x="2606649" y="1224234"/>
                  </a:cubicBezTo>
                  <a:cubicBezTo>
                    <a:pt x="2579657" y="1094809"/>
                    <a:pt x="2575108" y="1044032"/>
                    <a:pt x="2575108" y="872097"/>
                  </a:cubicBezTo>
                  <a:cubicBezTo>
                    <a:pt x="2575108" y="710069"/>
                    <a:pt x="2575016" y="709006"/>
                    <a:pt x="2562894" y="717781"/>
                  </a:cubicBezTo>
                  <a:cubicBezTo>
                    <a:pt x="2484342" y="774631"/>
                    <a:pt x="2395170" y="809636"/>
                    <a:pt x="2283392" y="827486"/>
                  </a:cubicBezTo>
                  <a:cubicBezTo>
                    <a:pt x="2270785" y="829518"/>
                    <a:pt x="2260487" y="833605"/>
                    <a:pt x="2260487" y="836584"/>
                  </a:cubicBezTo>
                  <a:cubicBezTo>
                    <a:pt x="2260487" y="839562"/>
                    <a:pt x="2267622" y="877247"/>
                    <a:pt x="2276327" y="920311"/>
                  </a:cubicBezTo>
                  <a:cubicBezTo>
                    <a:pt x="2337723" y="1223541"/>
                    <a:pt x="2487228" y="1508968"/>
                    <a:pt x="2701386" y="1731749"/>
                  </a:cubicBezTo>
                  <a:lnTo>
                    <a:pt x="2768923" y="1802015"/>
                  </a:lnTo>
                  <a:lnTo>
                    <a:pt x="2801849" y="1802015"/>
                  </a:lnTo>
                  <a:cubicBezTo>
                    <a:pt x="2819951" y="1802015"/>
                    <a:pt x="2834752" y="1800860"/>
                    <a:pt x="2834752" y="1799451"/>
                  </a:cubicBezTo>
                  <a:close/>
                  <a:moveTo>
                    <a:pt x="247778" y="1695081"/>
                  </a:moveTo>
                  <a:cubicBezTo>
                    <a:pt x="357842" y="1503749"/>
                    <a:pt x="429252" y="1286371"/>
                    <a:pt x="455491" y="1062782"/>
                  </a:cubicBezTo>
                  <a:cubicBezTo>
                    <a:pt x="467170" y="963260"/>
                    <a:pt x="466900" y="787631"/>
                    <a:pt x="454909" y="684576"/>
                  </a:cubicBezTo>
                  <a:cubicBezTo>
                    <a:pt x="445586" y="604428"/>
                    <a:pt x="444766" y="601680"/>
                    <a:pt x="415664" y="553235"/>
                  </a:cubicBezTo>
                  <a:cubicBezTo>
                    <a:pt x="384719" y="501696"/>
                    <a:pt x="366120" y="459925"/>
                    <a:pt x="348734" y="402913"/>
                  </a:cubicBezTo>
                  <a:lnTo>
                    <a:pt x="338484" y="369316"/>
                  </a:lnTo>
                  <a:lnTo>
                    <a:pt x="204811" y="369316"/>
                  </a:lnTo>
                  <a:lnTo>
                    <a:pt x="203259" y="1068578"/>
                  </a:lnTo>
                  <a:cubicBezTo>
                    <a:pt x="202345" y="1480058"/>
                    <a:pt x="203954" y="1765439"/>
                    <a:pt x="207170" y="1761998"/>
                  </a:cubicBezTo>
                  <a:cubicBezTo>
                    <a:pt x="210177" y="1758788"/>
                    <a:pt x="228452" y="1728678"/>
                    <a:pt x="247781" y="1695081"/>
                  </a:cubicBezTo>
                  <a:close/>
                  <a:moveTo>
                    <a:pt x="2923647" y="373703"/>
                  </a:moveTo>
                  <a:cubicBezTo>
                    <a:pt x="2921408" y="367838"/>
                    <a:pt x="2904160" y="366291"/>
                    <a:pt x="2855233" y="367584"/>
                  </a:cubicBezTo>
                  <a:lnTo>
                    <a:pt x="2789796" y="369339"/>
                  </a:lnTo>
                  <a:lnTo>
                    <a:pt x="2779544" y="402936"/>
                  </a:lnTo>
                  <a:cubicBezTo>
                    <a:pt x="2762412" y="459186"/>
                    <a:pt x="2743640" y="501419"/>
                    <a:pt x="2712977" y="552612"/>
                  </a:cubicBezTo>
                  <a:cubicBezTo>
                    <a:pt x="2689079" y="592536"/>
                    <a:pt x="2682337" y="610431"/>
                    <a:pt x="2676172" y="650356"/>
                  </a:cubicBezTo>
                  <a:cubicBezTo>
                    <a:pt x="2664835" y="723854"/>
                    <a:pt x="2661002" y="950583"/>
                    <a:pt x="2669660" y="1035974"/>
                  </a:cubicBezTo>
                  <a:cubicBezTo>
                    <a:pt x="2694205" y="1277874"/>
                    <a:pt x="2772294" y="1514440"/>
                    <a:pt x="2896263" y="1722443"/>
                  </a:cubicBezTo>
                  <a:lnTo>
                    <a:pt x="2923486" y="1768140"/>
                  </a:lnTo>
                  <a:lnTo>
                    <a:pt x="2925056" y="1074836"/>
                  </a:lnTo>
                  <a:cubicBezTo>
                    <a:pt x="2925933" y="693512"/>
                    <a:pt x="2925287" y="377998"/>
                    <a:pt x="2923647" y="373703"/>
                  </a:cubicBezTo>
                  <a:close/>
                  <a:moveTo>
                    <a:pt x="1661955" y="814486"/>
                  </a:moveTo>
                  <a:cubicBezTo>
                    <a:pt x="1720580" y="802686"/>
                    <a:pt x="1818273" y="755396"/>
                    <a:pt x="1867985" y="714756"/>
                  </a:cubicBezTo>
                  <a:cubicBezTo>
                    <a:pt x="1933952" y="660793"/>
                    <a:pt x="1992531" y="579235"/>
                    <a:pt x="2020654" y="502158"/>
                  </a:cubicBezTo>
                  <a:cubicBezTo>
                    <a:pt x="2038756" y="452489"/>
                    <a:pt x="2054019" y="377305"/>
                    <a:pt x="2047369" y="370540"/>
                  </a:cubicBezTo>
                  <a:cubicBezTo>
                    <a:pt x="2044737" y="367861"/>
                    <a:pt x="2023748" y="366499"/>
                    <a:pt x="2000751" y="367492"/>
                  </a:cubicBezTo>
                  <a:lnTo>
                    <a:pt x="1958935" y="369316"/>
                  </a:lnTo>
                  <a:lnTo>
                    <a:pt x="1951500" y="409679"/>
                  </a:lnTo>
                  <a:cubicBezTo>
                    <a:pt x="1936654" y="490312"/>
                    <a:pt x="1892321" y="569445"/>
                    <a:pt x="1828016" y="630128"/>
                  </a:cubicBezTo>
                  <a:cubicBezTo>
                    <a:pt x="1778350" y="676979"/>
                    <a:pt x="1746417" y="696399"/>
                    <a:pt x="1682667" y="718520"/>
                  </a:cubicBezTo>
                  <a:cubicBezTo>
                    <a:pt x="1640983" y="732975"/>
                    <a:pt x="1624965" y="735238"/>
                    <a:pt x="1564209" y="735238"/>
                  </a:cubicBezTo>
                  <a:cubicBezTo>
                    <a:pt x="1503453" y="735238"/>
                    <a:pt x="1487436" y="732998"/>
                    <a:pt x="1445752" y="718520"/>
                  </a:cubicBezTo>
                  <a:cubicBezTo>
                    <a:pt x="1382004" y="696399"/>
                    <a:pt x="1350061" y="676979"/>
                    <a:pt x="1300393" y="630128"/>
                  </a:cubicBezTo>
                  <a:cubicBezTo>
                    <a:pt x="1234666" y="568106"/>
                    <a:pt x="1192370" y="492414"/>
                    <a:pt x="1176872" y="409032"/>
                  </a:cubicBezTo>
                  <a:lnTo>
                    <a:pt x="1169491" y="369316"/>
                  </a:lnTo>
                  <a:lnTo>
                    <a:pt x="1127670" y="367492"/>
                  </a:lnTo>
                  <a:cubicBezTo>
                    <a:pt x="1104671" y="366499"/>
                    <a:pt x="1083691" y="367861"/>
                    <a:pt x="1081054" y="370540"/>
                  </a:cubicBezTo>
                  <a:cubicBezTo>
                    <a:pt x="1073232" y="378506"/>
                    <a:pt x="1092553" y="473387"/>
                    <a:pt x="1112572" y="525295"/>
                  </a:cubicBezTo>
                  <a:cubicBezTo>
                    <a:pt x="1165099" y="661508"/>
                    <a:pt x="1275581" y="763732"/>
                    <a:pt x="1416202" y="806219"/>
                  </a:cubicBezTo>
                  <a:cubicBezTo>
                    <a:pt x="1496591" y="830511"/>
                    <a:pt x="1570060" y="832981"/>
                    <a:pt x="1661946" y="814486"/>
                  </a:cubicBezTo>
                  <a:close/>
                  <a:moveTo>
                    <a:pt x="1041880" y="718104"/>
                  </a:moveTo>
                  <a:cubicBezTo>
                    <a:pt x="1068761" y="709422"/>
                    <a:pt x="1094289" y="700024"/>
                    <a:pt x="1098612" y="697230"/>
                  </a:cubicBezTo>
                  <a:cubicBezTo>
                    <a:pt x="1110598" y="689448"/>
                    <a:pt x="1059288" y="614565"/>
                    <a:pt x="1045711" y="620014"/>
                  </a:cubicBezTo>
                  <a:cubicBezTo>
                    <a:pt x="979947" y="646476"/>
                    <a:pt x="903333" y="653080"/>
                    <a:pt x="830882" y="638579"/>
                  </a:cubicBezTo>
                  <a:cubicBezTo>
                    <a:pt x="707878" y="613941"/>
                    <a:pt x="610347" y="536771"/>
                    <a:pt x="550457" y="416675"/>
                  </a:cubicBezTo>
                  <a:lnTo>
                    <a:pt x="525326" y="366268"/>
                  </a:lnTo>
                  <a:lnTo>
                    <a:pt x="483739" y="366268"/>
                  </a:lnTo>
                  <a:cubicBezTo>
                    <a:pt x="460866" y="366268"/>
                    <a:pt x="440548" y="367861"/>
                    <a:pt x="438585" y="369824"/>
                  </a:cubicBezTo>
                  <a:cubicBezTo>
                    <a:pt x="433189" y="375227"/>
                    <a:pt x="455039" y="434363"/>
                    <a:pt x="479932" y="481746"/>
                  </a:cubicBezTo>
                  <a:cubicBezTo>
                    <a:pt x="533918" y="584477"/>
                    <a:pt x="635494" y="671876"/>
                    <a:pt x="748304" y="712631"/>
                  </a:cubicBezTo>
                  <a:cubicBezTo>
                    <a:pt x="833454" y="743389"/>
                    <a:pt x="956421" y="745675"/>
                    <a:pt x="1041866" y="718104"/>
                  </a:cubicBezTo>
                  <a:close/>
                  <a:moveTo>
                    <a:pt x="2343126" y="724108"/>
                  </a:moveTo>
                  <a:cubicBezTo>
                    <a:pt x="2397709" y="709699"/>
                    <a:pt x="2484504" y="664649"/>
                    <a:pt x="2529506" y="627403"/>
                  </a:cubicBezTo>
                  <a:cubicBezTo>
                    <a:pt x="2573977" y="590573"/>
                    <a:pt x="2629600" y="520862"/>
                    <a:pt x="2654860" y="470269"/>
                  </a:cubicBezTo>
                  <a:cubicBezTo>
                    <a:pt x="2675802" y="428313"/>
                    <a:pt x="2694528" y="374534"/>
                    <a:pt x="2689818" y="369824"/>
                  </a:cubicBezTo>
                  <a:cubicBezTo>
                    <a:pt x="2687855" y="367861"/>
                    <a:pt x="2667513" y="366268"/>
                    <a:pt x="2644585" y="366268"/>
                  </a:cubicBezTo>
                  <a:lnTo>
                    <a:pt x="2602931" y="366268"/>
                  </a:lnTo>
                  <a:lnTo>
                    <a:pt x="2581896" y="408848"/>
                  </a:lnTo>
                  <a:cubicBezTo>
                    <a:pt x="2542690" y="488165"/>
                    <a:pt x="2495310" y="544022"/>
                    <a:pt x="2433083" y="584246"/>
                  </a:cubicBezTo>
                  <a:cubicBezTo>
                    <a:pt x="2329225" y="651441"/>
                    <a:pt x="2194889" y="665134"/>
                    <a:pt x="2082696" y="620014"/>
                  </a:cubicBezTo>
                  <a:cubicBezTo>
                    <a:pt x="2069189" y="614587"/>
                    <a:pt x="2017791" y="689494"/>
                    <a:pt x="2029798" y="697114"/>
                  </a:cubicBezTo>
                  <a:cubicBezTo>
                    <a:pt x="2042913" y="705427"/>
                    <a:pt x="2112274" y="727410"/>
                    <a:pt x="2143099" y="733021"/>
                  </a:cubicBezTo>
                  <a:cubicBezTo>
                    <a:pt x="2184707" y="740595"/>
                    <a:pt x="2300202" y="735445"/>
                    <a:pt x="2343126" y="724108"/>
                  </a:cubicBezTo>
                  <a:close/>
                  <a:moveTo>
                    <a:pt x="1634201" y="637956"/>
                  </a:moveTo>
                  <a:cubicBezTo>
                    <a:pt x="1688668" y="623755"/>
                    <a:pt x="1736766" y="595099"/>
                    <a:pt x="1777820" y="552335"/>
                  </a:cubicBezTo>
                  <a:cubicBezTo>
                    <a:pt x="1819358" y="509085"/>
                    <a:pt x="1854847" y="442260"/>
                    <a:pt x="1861243" y="395293"/>
                  </a:cubicBezTo>
                  <a:lnTo>
                    <a:pt x="1865214" y="366268"/>
                  </a:lnTo>
                  <a:lnTo>
                    <a:pt x="1263191" y="366268"/>
                  </a:lnTo>
                  <a:lnTo>
                    <a:pt x="1267146" y="395293"/>
                  </a:lnTo>
                  <a:cubicBezTo>
                    <a:pt x="1273554" y="442260"/>
                    <a:pt x="1309049" y="509085"/>
                    <a:pt x="1350588" y="552335"/>
                  </a:cubicBezTo>
                  <a:cubicBezTo>
                    <a:pt x="1427273" y="632206"/>
                    <a:pt x="1533334" y="664210"/>
                    <a:pt x="1634199" y="637956"/>
                  </a:cubicBezTo>
                  <a:close/>
                  <a:moveTo>
                    <a:pt x="974181" y="546377"/>
                  </a:moveTo>
                  <a:cubicBezTo>
                    <a:pt x="993803" y="541251"/>
                    <a:pt x="1011707" y="535940"/>
                    <a:pt x="1013965" y="534531"/>
                  </a:cubicBezTo>
                  <a:cubicBezTo>
                    <a:pt x="1016223" y="533146"/>
                    <a:pt x="1011818" y="505021"/>
                    <a:pt x="1004172" y="472047"/>
                  </a:cubicBezTo>
                  <a:cubicBezTo>
                    <a:pt x="996525" y="439074"/>
                    <a:pt x="988696" y="401782"/>
                    <a:pt x="986775" y="389174"/>
                  </a:cubicBezTo>
                  <a:lnTo>
                    <a:pt x="983283" y="366268"/>
                  </a:lnTo>
                  <a:lnTo>
                    <a:pt x="806395" y="366268"/>
                  </a:lnTo>
                  <a:cubicBezTo>
                    <a:pt x="709107" y="366268"/>
                    <a:pt x="629532" y="368323"/>
                    <a:pt x="629565" y="370840"/>
                  </a:cubicBezTo>
                  <a:cubicBezTo>
                    <a:pt x="629745" y="385156"/>
                    <a:pt x="669736" y="441267"/>
                    <a:pt x="700919" y="470939"/>
                  </a:cubicBezTo>
                  <a:cubicBezTo>
                    <a:pt x="777270" y="543629"/>
                    <a:pt x="877989" y="571431"/>
                    <a:pt x="974186" y="546377"/>
                  </a:cubicBezTo>
                  <a:close/>
                  <a:moveTo>
                    <a:pt x="2293067" y="546562"/>
                  </a:moveTo>
                  <a:cubicBezTo>
                    <a:pt x="2345180" y="532984"/>
                    <a:pt x="2387088" y="509408"/>
                    <a:pt x="2427495" y="470939"/>
                  </a:cubicBezTo>
                  <a:cubicBezTo>
                    <a:pt x="2458666" y="441267"/>
                    <a:pt x="2498658" y="385156"/>
                    <a:pt x="2498843" y="370863"/>
                  </a:cubicBezTo>
                  <a:cubicBezTo>
                    <a:pt x="2498866" y="368323"/>
                    <a:pt x="2419299" y="366268"/>
                    <a:pt x="2322022" y="366268"/>
                  </a:cubicBezTo>
                  <a:lnTo>
                    <a:pt x="2145131" y="366268"/>
                  </a:lnTo>
                  <a:lnTo>
                    <a:pt x="2141644" y="389174"/>
                  </a:lnTo>
                  <a:cubicBezTo>
                    <a:pt x="2139705" y="401782"/>
                    <a:pt x="2131878" y="439074"/>
                    <a:pt x="2124235" y="472047"/>
                  </a:cubicBezTo>
                  <a:cubicBezTo>
                    <a:pt x="2116592" y="505021"/>
                    <a:pt x="2112251" y="533192"/>
                    <a:pt x="2114583" y="534624"/>
                  </a:cubicBezTo>
                  <a:cubicBezTo>
                    <a:pt x="2116915" y="536078"/>
                    <a:pt x="2133563" y="541205"/>
                    <a:pt x="2151550" y="546054"/>
                  </a:cubicBezTo>
                  <a:cubicBezTo>
                    <a:pt x="2194612" y="557645"/>
                    <a:pt x="2249751" y="557830"/>
                    <a:pt x="2293067" y="546562"/>
                  </a:cubicBezTo>
                  <a:close/>
                  <a:moveTo>
                    <a:pt x="3029837" y="272265"/>
                  </a:moveTo>
                  <a:cubicBezTo>
                    <a:pt x="3034594" y="266515"/>
                    <a:pt x="3036325" y="236335"/>
                    <a:pt x="3035171" y="179093"/>
                  </a:cubicBezTo>
                  <a:lnTo>
                    <a:pt x="3033462" y="94396"/>
                  </a:lnTo>
                  <a:lnTo>
                    <a:pt x="95063" y="94396"/>
                  </a:lnTo>
                  <a:lnTo>
                    <a:pt x="93359" y="179093"/>
                  </a:lnTo>
                  <a:cubicBezTo>
                    <a:pt x="92209" y="236335"/>
                    <a:pt x="93936" y="266515"/>
                    <a:pt x="98690" y="272265"/>
                  </a:cubicBezTo>
                  <a:cubicBezTo>
                    <a:pt x="109247" y="284965"/>
                    <a:pt x="3019308" y="284965"/>
                    <a:pt x="3029930" y="272265"/>
                  </a:cubicBezTo>
                  <a:close/>
                </a:path>
              </a:pathLst>
            </a:custGeom>
            <a:solidFill>
              <a:srgbClr val="03556D"/>
            </a:solidFill>
            <a:ln w="6108" cap="flat">
              <a:noFill/>
              <a:prstDash val="solid"/>
              <a:miter/>
            </a:ln>
          </p:spPr>
          <p:txBody>
            <a:bodyPr rtlCol="0" anchor="ctr"/>
            <a:lstStyle/>
            <a:p>
              <a:endParaRPr lang="en-US" dirty="0"/>
            </a:p>
          </p:txBody>
        </p:sp>
      </p:grpSp>
      <p:grpSp>
        <p:nvGrpSpPr>
          <p:cNvPr id="3" name="Group 2">
            <a:extLst>
              <a:ext uri="{FF2B5EF4-FFF2-40B4-BE49-F238E27FC236}">
                <a16:creationId xmlns:a16="http://schemas.microsoft.com/office/drawing/2014/main" id="{757BB86E-D7E5-4DE6-8B8E-E2E31087D97C}"/>
              </a:ext>
            </a:extLst>
          </p:cNvPr>
          <p:cNvGrpSpPr/>
          <p:nvPr/>
        </p:nvGrpSpPr>
        <p:grpSpPr>
          <a:xfrm>
            <a:off x="2309520" y="1208640"/>
            <a:ext cx="640080" cy="640080"/>
            <a:chOff x="2309520" y="1211561"/>
            <a:chExt cx="640080" cy="640080"/>
          </a:xfrm>
        </p:grpSpPr>
        <p:sp>
          <p:nvSpPr>
            <p:cNvPr id="74" name="Oval 73">
              <a:extLst>
                <a:ext uri="{FF2B5EF4-FFF2-40B4-BE49-F238E27FC236}">
                  <a16:creationId xmlns:a16="http://schemas.microsoft.com/office/drawing/2014/main" id="{D5649EF0-FFC0-4245-89F1-5F699D31514B}"/>
                </a:ext>
              </a:extLst>
            </p:cNvPr>
            <p:cNvSpPr/>
            <p:nvPr/>
          </p:nvSpPr>
          <p:spPr bwMode="auto">
            <a:xfrm>
              <a:off x="2309520" y="1211561"/>
              <a:ext cx="640080" cy="640080"/>
            </a:xfrm>
            <a:prstGeom prst="ellipse">
              <a:avLst/>
            </a:prstGeom>
            <a:solidFill>
              <a:srgbClr val="F2F2F2"/>
            </a:solidFill>
            <a:ln w="3175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97" name="Graphic 8">
              <a:extLst>
                <a:ext uri="{FF2B5EF4-FFF2-40B4-BE49-F238E27FC236}">
                  <a16:creationId xmlns:a16="http://schemas.microsoft.com/office/drawing/2014/main" id="{03B3020C-CEC0-41D5-85FF-875C9337FA0E}"/>
                </a:ext>
              </a:extLst>
            </p:cNvPr>
            <p:cNvSpPr/>
            <p:nvPr/>
          </p:nvSpPr>
          <p:spPr>
            <a:xfrm>
              <a:off x="2446680" y="1348721"/>
              <a:ext cx="365760" cy="365760"/>
            </a:xfrm>
            <a:custGeom>
              <a:avLst/>
              <a:gdLst>
                <a:gd name="connsiteX0" fmla="*/ 918287 w 3126170"/>
                <a:gd name="connsiteY0" fmla="*/ 2734538 h 2749626"/>
                <a:gd name="connsiteX1" fmla="*/ 903293 w 3126170"/>
                <a:gd name="connsiteY1" fmla="*/ 2719552 h 2749626"/>
                <a:gd name="connsiteX2" fmla="*/ 903203 w 3126170"/>
                <a:gd name="connsiteY2" fmla="*/ 2537503 h 2749626"/>
                <a:gd name="connsiteX3" fmla="*/ 871180 w 3126170"/>
                <a:gd name="connsiteY3" fmla="*/ 2313590 h 2749626"/>
                <a:gd name="connsiteX4" fmla="*/ 617654 w 3126170"/>
                <a:gd name="connsiteY4" fmla="*/ 2297635 h 2749626"/>
                <a:gd name="connsiteX5" fmla="*/ 380961 w 3126170"/>
                <a:gd name="connsiteY5" fmla="*/ 2294171 h 2749626"/>
                <a:gd name="connsiteX6" fmla="*/ 350416 w 3126170"/>
                <a:gd name="connsiteY6" fmla="*/ 2278007 h 2749626"/>
                <a:gd name="connsiteX7" fmla="*/ 268514 w 3126170"/>
                <a:gd name="connsiteY7" fmla="*/ 2195181 h 2749626"/>
                <a:gd name="connsiteX8" fmla="*/ 224988 w 3126170"/>
                <a:gd name="connsiteY8" fmla="*/ 1990502 h 2749626"/>
                <a:gd name="connsiteX9" fmla="*/ 191358 w 3126170"/>
                <a:gd name="connsiteY9" fmla="*/ 1797994 h 2749626"/>
                <a:gd name="connsiteX10" fmla="*/ 117542 w 3126170"/>
                <a:gd name="connsiteY10" fmla="*/ 1784231 h 2749626"/>
                <a:gd name="connsiteX11" fmla="*/ 46793 w 3126170"/>
                <a:gd name="connsiteY11" fmla="*/ 1784231 h 2749626"/>
                <a:gd name="connsiteX12" fmla="*/ 26382 w 3126170"/>
                <a:gd name="connsiteY12" fmla="*/ 1763819 h 2749626"/>
                <a:gd name="connsiteX13" fmla="*/ 3876 w 3126170"/>
                <a:gd name="connsiteY13" fmla="*/ 1640675 h 2749626"/>
                <a:gd name="connsiteX14" fmla="*/ 116168 w 3126170"/>
                <a:gd name="connsiteY14" fmla="*/ 1315740 h 2749626"/>
                <a:gd name="connsiteX15" fmla="*/ 159078 w 3126170"/>
                <a:gd name="connsiteY15" fmla="*/ 1243535 h 2749626"/>
                <a:gd name="connsiteX16" fmla="*/ 149295 w 3126170"/>
                <a:gd name="connsiteY16" fmla="*/ 1118290 h 2749626"/>
                <a:gd name="connsiteX17" fmla="*/ 151955 w 3126170"/>
                <a:gd name="connsiteY17" fmla="*/ 778715 h 2749626"/>
                <a:gd name="connsiteX18" fmla="*/ 897315 w 3126170"/>
                <a:gd name="connsiteY18" fmla="*/ 15422 h 2749626"/>
                <a:gd name="connsiteX19" fmla="*/ 1031593 w 3126170"/>
                <a:gd name="connsiteY19" fmla="*/ 2560 h 2749626"/>
                <a:gd name="connsiteX20" fmla="*/ 1133922 w 3126170"/>
                <a:gd name="connsiteY20" fmla="*/ 12027 h 2749626"/>
                <a:gd name="connsiteX21" fmla="*/ 1132726 w 3126170"/>
                <a:gd name="connsiteY21" fmla="*/ 78321 h 2749626"/>
                <a:gd name="connsiteX22" fmla="*/ 1030397 w 3126170"/>
                <a:gd name="connsiteY22" fmla="*/ 93815 h 2749626"/>
                <a:gd name="connsiteX23" fmla="*/ 492545 w 3126170"/>
                <a:gd name="connsiteY23" fmla="*/ 323362 h 2749626"/>
                <a:gd name="connsiteX24" fmla="*/ 252065 w 3126170"/>
                <a:gd name="connsiteY24" fmla="*/ 735280 h 2749626"/>
                <a:gd name="connsiteX25" fmla="*/ 239823 w 3126170"/>
                <a:gd name="connsiteY25" fmla="*/ 1106352 h 2749626"/>
                <a:gd name="connsiteX26" fmla="*/ 206114 w 3126170"/>
                <a:gd name="connsiteY26" fmla="*/ 1341740 h 2749626"/>
                <a:gd name="connsiteX27" fmla="*/ 144428 w 3126170"/>
                <a:gd name="connsiteY27" fmla="*/ 1454308 h 2749626"/>
                <a:gd name="connsiteX28" fmla="*/ 93527 w 3126170"/>
                <a:gd name="connsiteY28" fmla="*/ 1648711 h 2749626"/>
                <a:gd name="connsiteX29" fmla="*/ 89204 w 3126170"/>
                <a:gd name="connsiteY29" fmla="*/ 1692584 h 2749626"/>
                <a:gd name="connsiteX30" fmla="*/ 156282 w 3126170"/>
                <a:gd name="connsiteY30" fmla="*/ 1692584 h 2749626"/>
                <a:gd name="connsiteX31" fmla="*/ 266406 w 3126170"/>
                <a:gd name="connsiteY31" fmla="*/ 1719138 h 2749626"/>
                <a:gd name="connsiteX32" fmla="*/ 308314 w 3126170"/>
                <a:gd name="connsiteY32" fmla="*/ 1939887 h 2749626"/>
                <a:gd name="connsiteX33" fmla="*/ 387099 w 3126170"/>
                <a:gd name="connsiteY33" fmla="*/ 2194257 h 2749626"/>
                <a:gd name="connsiteX34" fmla="*/ 631434 w 3126170"/>
                <a:gd name="connsiteY34" fmla="*/ 2208596 h 2749626"/>
                <a:gd name="connsiteX35" fmla="*/ 883505 w 3126170"/>
                <a:gd name="connsiteY35" fmla="*/ 2219079 h 2749626"/>
                <a:gd name="connsiteX36" fmla="*/ 978390 w 3126170"/>
                <a:gd name="connsiteY36" fmla="*/ 2299690 h 2749626"/>
                <a:gd name="connsiteX37" fmla="*/ 993714 w 3126170"/>
                <a:gd name="connsiteY37" fmla="*/ 2520739 h 2749626"/>
                <a:gd name="connsiteX38" fmla="*/ 982581 w 3126170"/>
                <a:gd name="connsiteY38" fmla="*/ 2733037 h 2749626"/>
                <a:gd name="connsiteX39" fmla="*/ 918292 w 3126170"/>
                <a:gd name="connsiteY39" fmla="*/ 2734515 h 2749626"/>
                <a:gd name="connsiteX40" fmla="*/ 2143590 w 3126170"/>
                <a:gd name="connsiteY40" fmla="*/ 2733037 h 2749626"/>
                <a:gd name="connsiteX41" fmla="*/ 2132461 w 3126170"/>
                <a:gd name="connsiteY41" fmla="*/ 2520739 h 2749626"/>
                <a:gd name="connsiteX42" fmla="*/ 2188661 w 3126170"/>
                <a:gd name="connsiteY42" fmla="*/ 2250368 h 2749626"/>
                <a:gd name="connsiteX43" fmla="*/ 2333549 w 3126170"/>
                <a:gd name="connsiteY43" fmla="*/ 2211875 h 2749626"/>
                <a:gd name="connsiteX44" fmla="*/ 2564031 w 3126170"/>
                <a:gd name="connsiteY44" fmla="*/ 2207834 h 2749626"/>
                <a:gd name="connsiteX45" fmla="*/ 2744246 w 3126170"/>
                <a:gd name="connsiteY45" fmla="*/ 2190955 h 2749626"/>
                <a:gd name="connsiteX46" fmla="*/ 2773847 w 3126170"/>
                <a:gd name="connsiteY46" fmla="*/ 2156826 h 2749626"/>
                <a:gd name="connsiteX47" fmla="*/ 2818249 w 3126170"/>
                <a:gd name="connsiteY47" fmla="*/ 1936978 h 2749626"/>
                <a:gd name="connsiteX48" fmla="*/ 2858910 w 3126170"/>
                <a:gd name="connsiteY48" fmla="*/ 1722001 h 2749626"/>
                <a:gd name="connsiteX49" fmla="*/ 2969810 w 3126170"/>
                <a:gd name="connsiteY49" fmla="*/ 1692584 h 2749626"/>
                <a:gd name="connsiteX50" fmla="*/ 3036817 w 3126170"/>
                <a:gd name="connsiteY50" fmla="*/ 1692584 h 2749626"/>
                <a:gd name="connsiteX51" fmla="*/ 3032660 w 3126170"/>
                <a:gd name="connsiteY51" fmla="*/ 1651343 h 2749626"/>
                <a:gd name="connsiteX52" fmla="*/ 2922846 w 3126170"/>
                <a:gd name="connsiteY52" fmla="*/ 1346797 h 2749626"/>
                <a:gd name="connsiteX53" fmla="*/ 2876551 w 3126170"/>
                <a:gd name="connsiteY53" fmla="*/ 1247321 h 2749626"/>
                <a:gd name="connsiteX54" fmla="*/ 2886341 w 3126170"/>
                <a:gd name="connsiteY54" fmla="*/ 1106352 h 2749626"/>
                <a:gd name="connsiteX55" fmla="*/ 2812500 w 3126170"/>
                <a:gd name="connsiteY55" fmla="*/ 565401 h 2749626"/>
                <a:gd name="connsiteX56" fmla="*/ 2647685 w 3126170"/>
                <a:gd name="connsiteY56" fmla="*/ 339017 h 2749626"/>
                <a:gd name="connsiteX57" fmla="*/ 2235095 w 3126170"/>
                <a:gd name="connsiteY57" fmla="*/ 109540 h 2749626"/>
                <a:gd name="connsiteX58" fmla="*/ 1841207 w 3126170"/>
                <a:gd name="connsiteY58" fmla="*/ 116975 h 2749626"/>
                <a:gd name="connsiteX59" fmla="*/ 1655224 w 3126170"/>
                <a:gd name="connsiteY59" fmla="*/ 188442 h 2749626"/>
                <a:gd name="connsiteX60" fmla="*/ 1711447 w 3126170"/>
                <a:gd name="connsiteY60" fmla="*/ 238549 h 2749626"/>
                <a:gd name="connsiteX61" fmla="*/ 1920335 w 3126170"/>
                <a:gd name="connsiteY61" fmla="*/ 485229 h 2749626"/>
                <a:gd name="connsiteX62" fmla="*/ 1915879 w 3126170"/>
                <a:gd name="connsiteY62" fmla="*/ 564477 h 2749626"/>
                <a:gd name="connsiteX63" fmla="*/ 1825852 w 3126170"/>
                <a:gd name="connsiteY63" fmla="*/ 506404 h 2749626"/>
                <a:gd name="connsiteX64" fmla="*/ 1598333 w 3126170"/>
                <a:gd name="connsiteY64" fmla="*/ 263533 h 2749626"/>
                <a:gd name="connsiteX65" fmla="*/ 1563341 w 3126170"/>
                <a:gd name="connsiteY65" fmla="*/ 237302 h 2749626"/>
                <a:gd name="connsiteX66" fmla="*/ 1521968 w 3126170"/>
                <a:gd name="connsiteY66" fmla="*/ 266720 h 2749626"/>
                <a:gd name="connsiteX67" fmla="*/ 1329019 w 3126170"/>
                <a:gd name="connsiteY67" fmla="*/ 463131 h 2749626"/>
                <a:gd name="connsiteX68" fmla="*/ 1176999 w 3126170"/>
                <a:gd name="connsiteY68" fmla="*/ 808664 h 2749626"/>
                <a:gd name="connsiteX69" fmla="*/ 1163500 w 3126170"/>
                <a:gd name="connsiteY69" fmla="*/ 983923 h 2749626"/>
                <a:gd name="connsiteX70" fmla="*/ 1215006 w 3126170"/>
                <a:gd name="connsiteY70" fmla="*/ 1302139 h 2749626"/>
                <a:gd name="connsiteX71" fmla="*/ 1214134 w 3126170"/>
                <a:gd name="connsiteY71" fmla="*/ 1427246 h 2749626"/>
                <a:gd name="connsiteX72" fmla="*/ 1177336 w 3126170"/>
                <a:gd name="connsiteY72" fmla="*/ 1429555 h 2749626"/>
                <a:gd name="connsiteX73" fmla="*/ 1124328 w 3126170"/>
                <a:gd name="connsiteY73" fmla="*/ 1316894 h 2749626"/>
                <a:gd name="connsiteX74" fmla="*/ 1070402 w 3126170"/>
                <a:gd name="connsiteY74" fmla="*/ 941159 h 2749626"/>
                <a:gd name="connsiteX75" fmla="*/ 1417303 w 3126170"/>
                <a:gd name="connsiteY75" fmla="*/ 234139 h 2749626"/>
                <a:gd name="connsiteX76" fmla="*/ 1472342 w 3126170"/>
                <a:gd name="connsiteY76" fmla="*/ 187333 h 2749626"/>
                <a:gd name="connsiteX77" fmla="*/ 1442872 w 3126170"/>
                <a:gd name="connsiteY77" fmla="*/ 172324 h 2749626"/>
                <a:gd name="connsiteX78" fmla="*/ 1352882 w 3126170"/>
                <a:gd name="connsiteY78" fmla="*/ 136949 h 2749626"/>
                <a:gd name="connsiteX79" fmla="*/ 1281099 w 3126170"/>
                <a:gd name="connsiteY79" fmla="*/ 106353 h 2749626"/>
                <a:gd name="connsiteX80" fmla="*/ 1310145 w 3126170"/>
                <a:gd name="connsiteY80" fmla="*/ 30869 h 2749626"/>
                <a:gd name="connsiteX81" fmla="*/ 1499500 w 3126170"/>
                <a:gd name="connsiteY81" fmla="*/ 98064 h 2749626"/>
                <a:gd name="connsiteX82" fmla="*/ 1562177 w 3126170"/>
                <a:gd name="connsiteY82" fmla="*/ 128290 h 2749626"/>
                <a:gd name="connsiteX83" fmla="*/ 1625244 w 3126170"/>
                <a:gd name="connsiteY83" fmla="*/ 98226 h 2749626"/>
                <a:gd name="connsiteX84" fmla="*/ 2161346 w 3126170"/>
                <a:gd name="connsiteY84" fmla="*/ 6047 h 2749626"/>
                <a:gd name="connsiteX85" fmla="*/ 2888373 w 3126170"/>
                <a:gd name="connsiteY85" fmla="*/ 516563 h 2749626"/>
                <a:gd name="connsiteX86" fmla="*/ 2977545 w 3126170"/>
                <a:gd name="connsiteY86" fmla="*/ 1106998 h 2749626"/>
                <a:gd name="connsiteX87" fmla="*/ 2966901 w 3126170"/>
                <a:gd name="connsiteY87" fmla="*/ 1243604 h 2749626"/>
                <a:gd name="connsiteX88" fmla="*/ 3009917 w 3126170"/>
                <a:gd name="connsiteY88" fmla="*/ 1315786 h 2749626"/>
                <a:gd name="connsiteX89" fmla="*/ 3122295 w 3126170"/>
                <a:gd name="connsiteY89" fmla="*/ 1640721 h 2749626"/>
                <a:gd name="connsiteX90" fmla="*/ 3099782 w 3126170"/>
                <a:gd name="connsiteY90" fmla="*/ 1763888 h 2749626"/>
                <a:gd name="connsiteX91" fmla="*/ 3079371 w 3126170"/>
                <a:gd name="connsiteY91" fmla="*/ 1784301 h 2749626"/>
                <a:gd name="connsiteX92" fmla="*/ 3008624 w 3126170"/>
                <a:gd name="connsiteY92" fmla="*/ 1784301 h 2749626"/>
                <a:gd name="connsiteX93" fmla="*/ 2934806 w 3126170"/>
                <a:gd name="connsiteY93" fmla="*/ 1798040 h 2749626"/>
                <a:gd name="connsiteX94" fmla="*/ 2901187 w 3126170"/>
                <a:gd name="connsiteY94" fmla="*/ 1990502 h 2749626"/>
                <a:gd name="connsiteX95" fmla="*/ 2820604 w 3126170"/>
                <a:gd name="connsiteY95" fmla="*/ 2246442 h 2749626"/>
                <a:gd name="connsiteX96" fmla="*/ 2772693 w 3126170"/>
                <a:gd name="connsiteY96" fmla="*/ 2279947 h 2749626"/>
                <a:gd name="connsiteX97" fmla="*/ 2508523 w 3126170"/>
                <a:gd name="connsiteY97" fmla="*/ 2297704 h 2749626"/>
                <a:gd name="connsiteX98" fmla="*/ 2254998 w 3126170"/>
                <a:gd name="connsiteY98" fmla="*/ 2313660 h 2749626"/>
                <a:gd name="connsiteX99" fmla="*/ 2222996 w 3126170"/>
                <a:gd name="connsiteY99" fmla="*/ 2537572 h 2749626"/>
                <a:gd name="connsiteX100" fmla="*/ 2222903 w 3126170"/>
                <a:gd name="connsiteY100" fmla="*/ 2719598 h 2749626"/>
                <a:gd name="connsiteX101" fmla="*/ 2207895 w 3126170"/>
                <a:gd name="connsiteY101" fmla="*/ 2734607 h 2749626"/>
                <a:gd name="connsiteX102" fmla="*/ 2143613 w 3126170"/>
                <a:gd name="connsiteY102" fmla="*/ 2733106 h 2749626"/>
                <a:gd name="connsiteX103" fmla="*/ 1306495 w 3126170"/>
                <a:gd name="connsiteY103" fmla="*/ 2731213 h 2749626"/>
                <a:gd name="connsiteX104" fmla="*/ 1294276 w 3126170"/>
                <a:gd name="connsiteY104" fmla="*/ 2345918 h 2749626"/>
                <a:gd name="connsiteX105" fmla="*/ 1300757 w 3126170"/>
                <a:gd name="connsiteY105" fmla="*/ 1960738 h 2749626"/>
                <a:gd name="connsiteX106" fmla="*/ 1379013 w 3126170"/>
                <a:gd name="connsiteY106" fmla="*/ 1965172 h 2749626"/>
                <a:gd name="connsiteX107" fmla="*/ 1385914 w 3126170"/>
                <a:gd name="connsiteY107" fmla="*/ 2345779 h 2749626"/>
                <a:gd name="connsiteX108" fmla="*/ 1373252 w 3126170"/>
                <a:gd name="connsiteY108" fmla="*/ 2727333 h 2749626"/>
                <a:gd name="connsiteX109" fmla="*/ 1306495 w 3126170"/>
                <a:gd name="connsiteY109" fmla="*/ 2731213 h 2749626"/>
                <a:gd name="connsiteX110" fmla="*/ 1752912 w 3126170"/>
                <a:gd name="connsiteY110" fmla="*/ 2727333 h 2749626"/>
                <a:gd name="connsiteX111" fmla="*/ 1740259 w 3126170"/>
                <a:gd name="connsiteY111" fmla="*/ 2290292 h 2749626"/>
                <a:gd name="connsiteX112" fmla="*/ 1740259 w 3126170"/>
                <a:gd name="connsiteY112" fmla="*/ 1869344 h 2749626"/>
                <a:gd name="connsiteX113" fmla="*/ 1780573 w 3126170"/>
                <a:gd name="connsiteY113" fmla="*/ 1733616 h 2749626"/>
                <a:gd name="connsiteX114" fmla="*/ 1866098 w 3126170"/>
                <a:gd name="connsiteY114" fmla="*/ 1570386 h 2749626"/>
                <a:gd name="connsiteX115" fmla="*/ 1911307 w 3126170"/>
                <a:gd name="connsiteY115" fmla="*/ 1608948 h 2749626"/>
                <a:gd name="connsiteX116" fmla="*/ 1871593 w 3126170"/>
                <a:gd name="connsiteY116" fmla="*/ 1749456 h 2749626"/>
                <a:gd name="connsiteX117" fmla="*/ 1831879 w 3126170"/>
                <a:gd name="connsiteY117" fmla="*/ 1881421 h 2749626"/>
                <a:gd name="connsiteX118" fmla="*/ 1831879 w 3126170"/>
                <a:gd name="connsiteY118" fmla="*/ 2300198 h 2749626"/>
                <a:gd name="connsiteX119" fmla="*/ 1819664 w 3126170"/>
                <a:gd name="connsiteY119" fmla="*/ 2731190 h 2749626"/>
                <a:gd name="connsiteX120" fmla="*/ 1752912 w 3126170"/>
                <a:gd name="connsiteY120" fmla="*/ 2727310 h 2749626"/>
                <a:gd name="connsiteX121" fmla="*/ 958117 w 3126170"/>
                <a:gd name="connsiteY121" fmla="*/ 1987662 h 2749626"/>
                <a:gd name="connsiteX122" fmla="*/ 646752 w 3126170"/>
                <a:gd name="connsiteY122" fmla="*/ 1723202 h 2749626"/>
                <a:gd name="connsiteX123" fmla="*/ 646796 w 3126170"/>
                <a:gd name="connsiteY123" fmla="*/ 1649681 h 2749626"/>
                <a:gd name="connsiteX124" fmla="*/ 962825 w 3126170"/>
                <a:gd name="connsiteY124" fmla="*/ 1381849 h 2749626"/>
                <a:gd name="connsiteX125" fmla="*/ 1040681 w 3126170"/>
                <a:gd name="connsiteY125" fmla="*/ 1388153 h 2749626"/>
                <a:gd name="connsiteX126" fmla="*/ 1074365 w 3126170"/>
                <a:gd name="connsiteY126" fmla="*/ 1484673 h 2749626"/>
                <a:gd name="connsiteX127" fmla="*/ 1074365 w 3126170"/>
                <a:gd name="connsiteY127" fmla="*/ 1527645 h 2749626"/>
                <a:gd name="connsiteX128" fmla="*/ 1274440 w 3126170"/>
                <a:gd name="connsiteY128" fmla="*/ 1527737 h 2749626"/>
                <a:gd name="connsiteX129" fmla="*/ 1518613 w 3126170"/>
                <a:gd name="connsiteY129" fmla="*/ 1563760 h 2749626"/>
                <a:gd name="connsiteX130" fmla="*/ 1532539 w 3126170"/>
                <a:gd name="connsiteY130" fmla="*/ 1686487 h 2749626"/>
                <a:gd name="connsiteX131" fmla="*/ 1518611 w 3126170"/>
                <a:gd name="connsiteY131" fmla="*/ 1809216 h 2749626"/>
                <a:gd name="connsiteX132" fmla="*/ 1274437 w 3126170"/>
                <a:gd name="connsiteY132" fmla="*/ 1845237 h 2749626"/>
                <a:gd name="connsiteX133" fmla="*/ 1074362 w 3126170"/>
                <a:gd name="connsiteY133" fmla="*/ 1845330 h 2749626"/>
                <a:gd name="connsiteX134" fmla="*/ 1074362 w 3126170"/>
                <a:gd name="connsiteY134" fmla="*/ 1888302 h 2749626"/>
                <a:gd name="connsiteX135" fmla="*/ 1040679 w 3126170"/>
                <a:gd name="connsiteY135" fmla="*/ 1984822 h 2749626"/>
                <a:gd name="connsiteX136" fmla="*/ 958122 w 3126170"/>
                <a:gd name="connsiteY136" fmla="*/ 1987662 h 2749626"/>
                <a:gd name="connsiteX137" fmla="*/ 1000198 w 3126170"/>
                <a:gd name="connsiteY137" fmla="*/ 1765343 h 2749626"/>
                <a:gd name="connsiteX138" fmla="*/ 1227764 w 3126170"/>
                <a:gd name="connsiteY138" fmla="*/ 1753682 h 2749626"/>
                <a:gd name="connsiteX139" fmla="*/ 1440907 w 3126170"/>
                <a:gd name="connsiteY139" fmla="*/ 1753682 h 2749626"/>
                <a:gd name="connsiteX140" fmla="*/ 1440907 w 3126170"/>
                <a:gd name="connsiteY140" fmla="*/ 1619709 h 2749626"/>
                <a:gd name="connsiteX141" fmla="*/ 1224242 w 3126170"/>
                <a:gd name="connsiteY141" fmla="*/ 1617977 h 2749626"/>
                <a:gd name="connsiteX142" fmla="*/ 996677 w 3126170"/>
                <a:gd name="connsiteY142" fmla="*/ 1605346 h 2749626"/>
                <a:gd name="connsiteX143" fmla="*/ 982719 w 3126170"/>
                <a:gd name="connsiteY143" fmla="*/ 1538821 h 2749626"/>
                <a:gd name="connsiteX144" fmla="*/ 979664 w 3126170"/>
                <a:gd name="connsiteY144" fmla="*/ 1483195 h 2749626"/>
                <a:gd name="connsiteX145" fmla="*/ 859395 w 3126170"/>
                <a:gd name="connsiteY145" fmla="*/ 1583294 h 2749626"/>
                <a:gd name="connsiteX146" fmla="*/ 739152 w 3126170"/>
                <a:gd name="connsiteY146" fmla="*/ 1686464 h 2749626"/>
                <a:gd name="connsiteX147" fmla="*/ 859422 w 3126170"/>
                <a:gd name="connsiteY147" fmla="*/ 1789565 h 2749626"/>
                <a:gd name="connsiteX148" fmla="*/ 979664 w 3126170"/>
                <a:gd name="connsiteY148" fmla="*/ 1889618 h 2749626"/>
                <a:gd name="connsiteX149" fmla="*/ 982719 w 3126170"/>
                <a:gd name="connsiteY149" fmla="*/ 1833299 h 2749626"/>
                <a:gd name="connsiteX150" fmla="*/ 1000196 w 3126170"/>
                <a:gd name="connsiteY150" fmla="*/ 1765343 h 2749626"/>
                <a:gd name="connsiteX151" fmla="*/ 1887340 w 3126170"/>
                <a:gd name="connsiteY151" fmla="*/ 1456548 h 2749626"/>
                <a:gd name="connsiteX152" fmla="*/ 1874664 w 3126170"/>
                <a:gd name="connsiteY152" fmla="*/ 1431749 h 2749626"/>
                <a:gd name="connsiteX153" fmla="*/ 1904681 w 3126170"/>
                <a:gd name="connsiteY153" fmla="*/ 1323545 h 2749626"/>
                <a:gd name="connsiteX154" fmla="*/ 1947766 w 3126170"/>
                <a:gd name="connsiteY154" fmla="*/ 1163640 h 2749626"/>
                <a:gd name="connsiteX155" fmla="*/ 2000849 w 3126170"/>
                <a:gd name="connsiteY155" fmla="*/ 1081644 h 2749626"/>
                <a:gd name="connsiteX156" fmla="*/ 2045667 w 3126170"/>
                <a:gd name="connsiteY156" fmla="*/ 1125932 h 2749626"/>
                <a:gd name="connsiteX157" fmla="*/ 1950906 w 3126170"/>
                <a:gd name="connsiteY157" fmla="*/ 1460566 h 2749626"/>
                <a:gd name="connsiteX158" fmla="*/ 1887340 w 3126170"/>
                <a:gd name="connsiteY158" fmla="*/ 1456548 h 2749626"/>
                <a:gd name="connsiteX159" fmla="*/ 2260101 w 3126170"/>
                <a:gd name="connsiteY159" fmla="*/ 1134753 h 2749626"/>
                <a:gd name="connsiteX160" fmla="*/ 2210666 w 3126170"/>
                <a:gd name="connsiteY160" fmla="*/ 1039988 h 2749626"/>
                <a:gd name="connsiteX161" fmla="*/ 2207618 w 3126170"/>
                <a:gd name="connsiteY161" fmla="*/ 986948 h 2749626"/>
                <a:gd name="connsiteX162" fmla="*/ 1999302 w 3126170"/>
                <a:gd name="connsiteY162" fmla="*/ 983877 h 2749626"/>
                <a:gd name="connsiteX163" fmla="*/ 1761247 w 3126170"/>
                <a:gd name="connsiteY163" fmla="*/ 946447 h 2749626"/>
                <a:gd name="connsiteX164" fmla="*/ 1752496 w 3126170"/>
                <a:gd name="connsiteY164" fmla="*/ 823118 h 2749626"/>
                <a:gd name="connsiteX165" fmla="*/ 1765242 w 3126170"/>
                <a:gd name="connsiteY165" fmla="*/ 700506 h 2749626"/>
                <a:gd name="connsiteX166" fmla="*/ 2011817 w 3126170"/>
                <a:gd name="connsiteY166" fmla="*/ 666193 h 2749626"/>
                <a:gd name="connsiteX167" fmla="*/ 2210666 w 3126170"/>
                <a:gd name="connsiteY167" fmla="*/ 666193 h 2749626"/>
                <a:gd name="connsiteX168" fmla="*/ 2210666 w 3126170"/>
                <a:gd name="connsiteY168" fmla="*/ 614469 h 2749626"/>
                <a:gd name="connsiteX169" fmla="*/ 2229461 w 3126170"/>
                <a:gd name="connsiteY169" fmla="*/ 541340 h 2749626"/>
                <a:gd name="connsiteX170" fmla="*/ 2305588 w 3126170"/>
                <a:gd name="connsiteY170" fmla="*/ 516009 h 2749626"/>
                <a:gd name="connsiteX171" fmla="*/ 2624826 w 3126170"/>
                <a:gd name="connsiteY171" fmla="*/ 777629 h 2749626"/>
                <a:gd name="connsiteX172" fmla="*/ 2638334 w 3126170"/>
                <a:gd name="connsiteY172" fmla="*/ 855561 h 2749626"/>
                <a:gd name="connsiteX173" fmla="*/ 2319395 w 3126170"/>
                <a:gd name="connsiteY173" fmla="*/ 1128981 h 2749626"/>
                <a:gd name="connsiteX174" fmla="*/ 2260124 w 3126170"/>
                <a:gd name="connsiteY174" fmla="*/ 1134753 h 2749626"/>
                <a:gd name="connsiteX175" fmla="*/ 2429002 w 3126170"/>
                <a:gd name="connsiteY175" fmla="*/ 924210 h 2749626"/>
                <a:gd name="connsiteX176" fmla="*/ 2539348 w 3126170"/>
                <a:gd name="connsiteY176" fmla="*/ 825151 h 2749626"/>
                <a:gd name="connsiteX177" fmla="*/ 2420505 w 3126170"/>
                <a:gd name="connsiteY177" fmla="*/ 722049 h 2749626"/>
                <a:gd name="connsiteX178" fmla="*/ 2303510 w 3126170"/>
                <a:gd name="connsiteY178" fmla="*/ 623821 h 2749626"/>
                <a:gd name="connsiteX179" fmla="*/ 2301385 w 3126170"/>
                <a:gd name="connsiteY179" fmla="*/ 679146 h 2749626"/>
                <a:gd name="connsiteX180" fmla="*/ 2057258 w 3126170"/>
                <a:gd name="connsiteY180" fmla="*/ 757840 h 2749626"/>
                <a:gd name="connsiteX181" fmla="*/ 1844116 w 3126170"/>
                <a:gd name="connsiteY181" fmla="*/ 757840 h 2749626"/>
                <a:gd name="connsiteX182" fmla="*/ 1844116 w 3126170"/>
                <a:gd name="connsiteY182" fmla="*/ 898349 h 2749626"/>
                <a:gd name="connsiteX183" fmla="*/ 2276980 w 3126170"/>
                <a:gd name="connsiteY183" fmla="*/ 898349 h 2749626"/>
                <a:gd name="connsiteX184" fmla="*/ 2289633 w 3126170"/>
                <a:gd name="connsiteY184" fmla="*/ 914443 h 2749626"/>
                <a:gd name="connsiteX185" fmla="*/ 2302286 w 3126170"/>
                <a:gd name="connsiteY185" fmla="*/ 978959 h 2749626"/>
                <a:gd name="connsiteX186" fmla="*/ 2309536 w 3126170"/>
                <a:gd name="connsiteY186" fmla="*/ 1022901 h 2749626"/>
                <a:gd name="connsiteX187" fmla="*/ 2428979 w 3126170"/>
                <a:gd name="connsiteY187" fmla="*/ 924210 h 274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3126170" h="2749626">
                  <a:moveTo>
                    <a:pt x="918287" y="2734538"/>
                  </a:moveTo>
                  <a:lnTo>
                    <a:pt x="903293" y="2719552"/>
                  </a:lnTo>
                  <a:lnTo>
                    <a:pt x="903203" y="2537503"/>
                  </a:lnTo>
                  <a:cubicBezTo>
                    <a:pt x="903106" y="2342131"/>
                    <a:pt x="902332" y="2336728"/>
                    <a:pt x="871180" y="2313590"/>
                  </a:cubicBezTo>
                  <a:cubicBezTo>
                    <a:pt x="855095" y="2301653"/>
                    <a:pt x="843684" y="2300937"/>
                    <a:pt x="617654" y="2297635"/>
                  </a:cubicBezTo>
                  <a:lnTo>
                    <a:pt x="380961" y="2294171"/>
                  </a:lnTo>
                  <a:lnTo>
                    <a:pt x="350416" y="2278007"/>
                  </a:lnTo>
                  <a:cubicBezTo>
                    <a:pt x="314124" y="2258819"/>
                    <a:pt x="286289" y="2230671"/>
                    <a:pt x="268514" y="2195181"/>
                  </a:cubicBezTo>
                  <a:cubicBezTo>
                    <a:pt x="259814" y="2177793"/>
                    <a:pt x="245494" y="2110460"/>
                    <a:pt x="224988" y="1990502"/>
                  </a:cubicBezTo>
                  <a:cubicBezTo>
                    <a:pt x="208176" y="1892181"/>
                    <a:pt x="193043" y="1805544"/>
                    <a:pt x="191358" y="1797994"/>
                  </a:cubicBezTo>
                  <a:cubicBezTo>
                    <a:pt x="188393" y="1784693"/>
                    <a:pt x="185929" y="1784231"/>
                    <a:pt x="117542" y="1784231"/>
                  </a:cubicBezTo>
                  <a:lnTo>
                    <a:pt x="46793" y="1784231"/>
                  </a:lnTo>
                  <a:lnTo>
                    <a:pt x="26382" y="1763819"/>
                  </a:lnTo>
                  <a:cubicBezTo>
                    <a:pt x="-1074" y="1736364"/>
                    <a:pt x="-4166" y="1719438"/>
                    <a:pt x="3876" y="1640675"/>
                  </a:cubicBezTo>
                  <a:cubicBezTo>
                    <a:pt x="16453" y="1517462"/>
                    <a:pt x="44516" y="1436274"/>
                    <a:pt x="116168" y="1315740"/>
                  </a:cubicBezTo>
                  <a:lnTo>
                    <a:pt x="159078" y="1243535"/>
                  </a:lnTo>
                  <a:lnTo>
                    <a:pt x="149295" y="1118290"/>
                  </a:lnTo>
                  <a:cubicBezTo>
                    <a:pt x="136219" y="950904"/>
                    <a:pt x="136875" y="866922"/>
                    <a:pt x="151955" y="778715"/>
                  </a:cubicBezTo>
                  <a:cubicBezTo>
                    <a:pt x="218100" y="391803"/>
                    <a:pt x="509500" y="93376"/>
                    <a:pt x="897315" y="15422"/>
                  </a:cubicBezTo>
                  <a:cubicBezTo>
                    <a:pt x="922448" y="10388"/>
                    <a:pt x="982874" y="4592"/>
                    <a:pt x="1031593" y="2560"/>
                  </a:cubicBezTo>
                  <a:cubicBezTo>
                    <a:pt x="1116508" y="-973"/>
                    <a:pt x="1120745" y="-581"/>
                    <a:pt x="1133922" y="12027"/>
                  </a:cubicBezTo>
                  <a:cubicBezTo>
                    <a:pt x="1153117" y="30384"/>
                    <a:pt x="1152533" y="62735"/>
                    <a:pt x="1132726" y="78321"/>
                  </a:cubicBezTo>
                  <a:cubicBezTo>
                    <a:pt x="1120188" y="88181"/>
                    <a:pt x="1103732" y="90675"/>
                    <a:pt x="1030397" y="93815"/>
                  </a:cubicBezTo>
                  <a:cubicBezTo>
                    <a:pt x="820763" y="102798"/>
                    <a:pt x="643852" y="178305"/>
                    <a:pt x="492545" y="323362"/>
                  </a:cubicBezTo>
                  <a:cubicBezTo>
                    <a:pt x="369223" y="441587"/>
                    <a:pt x="292532" y="572951"/>
                    <a:pt x="252065" y="735280"/>
                  </a:cubicBezTo>
                  <a:cubicBezTo>
                    <a:pt x="230811" y="820532"/>
                    <a:pt x="226669" y="946078"/>
                    <a:pt x="239823" y="1106352"/>
                  </a:cubicBezTo>
                  <a:cubicBezTo>
                    <a:pt x="253658" y="1274938"/>
                    <a:pt x="256076" y="1258059"/>
                    <a:pt x="206114" y="1341740"/>
                  </a:cubicBezTo>
                  <a:cubicBezTo>
                    <a:pt x="182184" y="1381803"/>
                    <a:pt x="154426" y="1432464"/>
                    <a:pt x="144428" y="1454308"/>
                  </a:cubicBezTo>
                  <a:cubicBezTo>
                    <a:pt x="122079" y="1503146"/>
                    <a:pt x="99299" y="1590152"/>
                    <a:pt x="93527" y="1648711"/>
                  </a:cubicBezTo>
                  <a:lnTo>
                    <a:pt x="89204" y="1692584"/>
                  </a:lnTo>
                  <a:lnTo>
                    <a:pt x="156282" y="1692584"/>
                  </a:lnTo>
                  <a:cubicBezTo>
                    <a:pt x="231097" y="1692584"/>
                    <a:pt x="257175" y="1698864"/>
                    <a:pt x="266406" y="1719138"/>
                  </a:cubicBezTo>
                  <a:cubicBezTo>
                    <a:pt x="269844" y="1726689"/>
                    <a:pt x="288702" y="1826003"/>
                    <a:pt x="308314" y="1939887"/>
                  </a:cubicBezTo>
                  <a:cubicBezTo>
                    <a:pt x="346260" y="2160197"/>
                    <a:pt x="350254" y="2173105"/>
                    <a:pt x="387099" y="2194257"/>
                  </a:cubicBezTo>
                  <a:cubicBezTo>
                    <a:pt x="403139" y="2203447"/>
                    <a:pt x="433373" y="2205225"/>
                    <a:pt x="631434" y="2208596"/>
                  </a:cubicBezTo>
                  <a:cubicBezTo>
                    <a:pt x="760635" y="2210790"/>
                    <a:pt x="868612" y="2215269"/>
                    <a:pt x="883505" y="2219079"/>
                  </a:cubicBezTo>
                  <a:cubicBezTo>
                    <a:pt x="915177" y="2227184"/>
                    <a:pt x="959948" y="2265215"/>
                    <a:pt x="978390" y="2299690"/>
                  </a:cubicBezTo>
                  <a:cubicBezTo>
                    <a:pt x="991373" y="2323958"/>
                    <a:pt x="991948" y="2332271"/>
                    <a:pt x="993714" y="2520739"/>
                  </a:cubicBezTo>
                  <a:cubicBezTo>
                    <a:pt x="995511" y="2712486"/>
                    <a:pt x="995280" y="2716896"/>
                    <a:pt x="982581" y="2733037"/>
                  </a:cubicBezTo>
                  <a:cubicBezTo>
                    <a:pt x="965716" y="2754465"/>
                    <a:pt x="938863" y="2755089"/>
                    <a:pt x="918292" y="2734515"/>
                  </a:cubicBezTo>
                  <a:close/>
                  <a:moveTo>
                    <a:pt x="2143590" y="2733037"/>
                  </a:moveTo>
                  <a:cubicBezTo>
                    <a:pt x="2130891" y="2716896"/>
                    <a:pt x="2130660" y="2712486"/>
                    <a:pt x="2132461" y="2520739"/>
                  </a:cubicBezTo>
                  <a:cubicBezTo>
                    <a:pt x="2134539" y="2297843"/>
                    <a:pt x="2134493" y="2298050"/>
                    <a:pt x="2188661" y="2250368"/>
                  </a:cubicBezTo>
                  <a:cubicBezTo>
                    <a:pt x="2224704" y="2218641"/>
                    <a:pt x="2250080" y="2211898"/>
                    <a:pt x="2333549" y="2211875"/>
                  </a:cubicBezTo>
                  <a:cubicBezTo>
                    <a:pt x="2371786" y="2211875"/>
                    <a:pt x="2475505" y="2210051"/>
                    <a:pt x="2564031" y="2207834"/>
                  </a:cubicBezTo>
                  <a:cubicBezTo>
                    <a:pt x="2713606" y="2204070"/>
                    <a:pt x="2726329" y="2202893"/>
                    <a:pt x="2744246" y="2190955"/>
                  </a:cubicBezTo>
                  <a:cubicBezTo>
                    <a:pt x="2754845" y="2183912"/>
                    <a:pt x="2768167" y="2168557"/>
                    <a:pt x="2773847" y="2156826"/>
                  </a:cubicBezTo>
                  <a:cubicBezTo>
                    <a:pt x="2779528" y="2145119"/>
                    <a:pt x="2799523" y="2046175"/>
                    <a:pt x="2818249" y="1936978"/>
                  </a:cubicBezTo>
                  <a:cubicBezTo>
                    <a:pt x="2836998" y="1827758"/>
                    <a:pt x="2855285" y="1731030"/>
                    <a:pt x="2858910" y="1722001"/>
                  </a:cubicBezTo>
                  <a:cubicBezTo>
                    <a:pt x="2868146" y="1698933"/>
                    <a:pt x="2892113" y="1692584"/>
                    <a:pt x="2969810" y="1692584"/>
                  </a:cubicBezTo>
                  <a:lnTo>
                    <a:pt x="3036817" y="1692584"/>
                  </a:lnTo>
                  <a:lnTo>
                    <a:pt x="3032660" y="1651343"/>
                  </a:lnTo>
                  <a:cubicBezTo>
                    <a:pt x="3021739" y="1543301"/>
                    <a:pt x="2994193" y="1466893"/>
                    <a:pt x="2922846" y="1346797"/>
                  </a:cubicBezTo>
                  <a:cubicBezTo>
                    <a:pt x="2888650" y="1289255"/>
                    <a:pt x="2876551" y="1263254"/>
                    <a:pt x="2876551" y="1247321"/>
                  </a:cubicBezTo>
                  <a:cubicBezTo>
                    <a:pt x="2876551" y="1235476"/>
                    <a:pt x="2880961" y="1172045"/>
                    <a:pt x="2886341" y="1106352"/>
                  </a:cubicBezTo>
                  <a:cubicBezTo>
                    <a:pt x="2906706" y="857408"/>
                    <a:pt x="2888026" y="720456"/>
                    <a:pt x="2812500" y="565401"/>
                  </a:cubicBezTo>
                  <a:cubicBezTo>
                    <a:pt x="2769276" y="476686"/>
                    <a:pt x="2726652" y="418127"/>
                    <a:pt x="2647685" y="339017"/>
                  </a:cubicBezTo>
                  <a:cubicBezTo>
                    <a:pt x="2524917" y="216012"/>
                    <a:pt x="2402957" y="148194"/>
                    <a:pt x="2235095" y="109540"/>
                  </a:cubicBezTo>
                  <a:cubicBezTo>
                    <a:pt x="2127196" y="84717"/>
                    <a:pt x="1956078" y="87950"/>
                    <a:pt x="1841207" y="116975"/>
                  </a:cubicBezTo>
                  <a:cubicBezTo>
                    <a:pt x="1764272" y="136441"/>
                    <a:pt x="1654062" y="178766"/>
                    <a:pt x="1655224" y="188442"/>
                  </a:cubicBezTo>
                  <a:cubicBezTo>
                    <a:pt x="1655508" y="190797"/>
                    <a:pt x="1680807" y="213357"/>
                    <a:pt x="1711447" y="238549"/>
                  </a:cubicBezTo>
                  <a:cubicBezTo>
                    <a:pt x="1788562" y="301980"/>
                    <a:pt x="1867737" y="395498"/>
                    <a:pt x="1920335" y="485229"/>
                  </a:cubicBezTo>
                  <a:cubicBezTo>
                    <a:pt x="1940862" y="520258"/>
                    <a:pt x="1939361" y="547020"/>
                    <a:pt x="1915879" y="564477"/>
                  </a:cubicBezTo>
                  <a:cubicBezTo>
                    <a:pt x="1888426" y="584889"/>
                    <a:pt x="1871662" y="574060"/>
                    <a:pt x="1825852" y="506404"/>
                  </a:cubicBezTo>
                  <a:cubicBezTo>
                    <a:pt x="1753859" y="400070"/>
                    <a:pt x="1691133" y="333106"/>
                    <a:pt x="1598333" y="263533"/>
                  </a:cubicBezTo>
                  <a:lnTo>
                    <a:pt x="1563341" y="237302"/>
                  </a:lnTo>
                  <a:lnTo>
                    <a:pt x="1521968" y="266720"/>
                  </a:lnTo>
                  <a:cubicBezTo>
                    <a:pt x="1467038" y="305790"/>
                    <a:pt x="1373067" y="401432"/>
                    <a:pt x="1329019" y="463131"/>
                  </a:cubicBezTo>
                  <a:cubicBezTo>
                    <a:pt x="1257314" y="563553"/>
                    <a:pt x="1203723" y="685358"/>
                    <a:pt x="1176999" y="808664"/>
                  </a:cubicBezTo>
                  <a:cubicBezTo>
                    <a:pt x="1165814" y="860272"/>
                    <a:pt x="1163505" y="890221"/>
                    <a:pt x="1163500" y="983923"/>
                  </a:cubicBezTo>
                  <a:cubicBezTo>
                    <a:pt x="1163496" y="1111201"/>
                    <a:pt x="1169841" y="1150409"/>
                    <a:pt x="1215006" y="1302139"/>
                  </a:cubicBezTo>
                  <a:cubicBezTo>
                    <a:pt x="1243238" y="1396997"/>
                    <a:pt x="1243132" y="1412237"/>
                    <a:pt x="1214134" y="1427246"/>
                  </a:cubicBezTo>
                  <a:cubicBezTo>
                    <a:pt x="1198520" y="1435305"/>
                    <a:pt x="1192178" y="1435720"/>
                    <a:pt x="1177336" y="1429555"/>
                  </a:cubicBezTo>
                  <a:cubicBezTo>
                    <a:pt x="1154500" y="1420111"/>
                    <a:pt x="1153941" y="1418910"/>
                    <a:pt x="1124328" y="1316894"/>
                  </a:cubicBezTo>
                  <a:cubicBezTo>
                    <a:pt x="1076080" y="1150663"/>
                    <a:pt x="1064394" y="1069267"/>
                    <a:pt x="1070402" y="941159"/>
                  </a:cubicBezTo>
                  <a:cubicBezTo>
                    <a:pt x="1083245" y="667347"/>
                    <a:pt x="1208788" y="411477"/>
                    <a:pt x="1417303" y="234139"/>
                  </a:cubicBezTo>
                  <a:lnTo>
                    <a:pt x="1472342" y="187333"/>
                  </a:lnTo>
                  <a:lnTo>
                    <a:pt x="1442872" y="172324"/>
                  </a:lnTo>
                  <a:cubicBezTo>
                    <a:pt x="1426665" y="164081"/>
                    <a:pt x="1386171" y="148171"/>
                    <a:pt x="1352882" y="136949"/>
                  </a:cubicBezTo>
                  <a:cubicBezTo>
                    <a:pt x="1319598" y="125727"/>
                    <a:pt x="1287294" y="111965"/>
                    <a:pt x="1281099" y="106353"/>
                  </a:cubicBezTo>
                  <a:cubicBezTo>
                    <a:pt x="1255824" y="83494"/>
                    <a:pt x="1276072" y="30869"/>
                    <a:pt x="1310145" y="30869"/>
                  </a:cubicBezTo>
                  <a:cubicBezTo>
                    <a:pt x="1333593" y="30869"/>
                    <a:pt x="1434241" y="66568"/>
                    <a:pt x="1499500" y="98064"/>
                  </a:cubicBezTo>
                  <a:lnTo>
                    <a:pt x="1562177" y="128290"/>
                  </a:lnTo>
                  <a:lnTo>
                    <a:pt x="1625244" y="98226"/>
                  </a:lnTo>
                  <a:cubicBezTo>
                    <a:pt x="1793250" y="18169"/>
                    <a:pt x="1983994" y="-14643"/>
                    <a:pt x="2161346" y="6047"/>
                  </a:cubicBezTo>
                  <a:cubicBezTo>
                    <a:pt x="2475736" y="42715"/>
                    <a:pt x="2749788" y="235155"/>
                    <a:pt x="2888373" y="516563"/>
                  </a:cubicBezTo>
                  <a:cubicBezTo>
                    <a:pt x="2977430" y="697411"/>
                    <a:pt x="2998580" y="837412"/>
                    <a:pt x="2977545" y="1106998"/>
                  </a:cubicBezTo>
                  <a:lnTo>
                    <a:pt x="2966901" y="1243604"/>
                  </a:lnTo>
                  <a:lnTo>
                    <a:pt x="3009917" y="1315786"/>
                  </a:lnTo>
                  <a:cubicBezTo>
                    <a:pt x="3081587" y="1436090"/>
                    <a:pt x="3109711" y="1517393"/>
                    <a:pt x="3122295" y="1640721"/>
                  </a:cubicBezTo>
                  <a:cubicBezTo>
                    <a:pt x="3130330" y="1719508"/>
                    <a:pt x="3127259" y="1736433"/>
                    <a:pt x="3099782" y="1763888"/>
                  </a:cubicBezTo>
                  <a:lnTo>
                    <a:pt x="3079371" y="1784301"/>
                  </a:lnTo>
                  <a:lnTo>
                    <a:pt x="3008624" y="1784301"/>
                  </a:lnTo>
                  <a:cubicBezTo>
                    <a:pt x="2940232" y="1784301"/>
                    <a:pt x="2937785" y="1784763"/>
                    <a:pt x="2934806" y="1798040"/>
                  </a:cubicBezTo>
                  <a:cubicBezTo>
                    <a:pt x="2933121" y="1805590"/>
                    <a:pt x="2917997" y="1892205"/>
                    <a:pt x="2901187" y="1990502"/>
                  </a:cubicBezTo>
                  <a:cubicBezTo>
                    <a:pt x="2868377" y="2182527"/>
                    <a:pt x="2859880" y="2209451"/>
                    <a:pt x="2820604" y="2246442"/>
                  </a:cubicBezTo>
                  <a:cubicBezTo>
                    <a:pt x="2809383" y="2256995"/>
                    <a:pt x="2787817" y="2272073"/>
                    <a:pt x="2772693" y="2279947"/>
                  </a:cubicBezTo>
                  <a:cubicBezTo>
                    <a:pt x="2745632" y="2294032"/>
                    <a:pt x="2741545" y="2294310"/>
                    <a:pt x="2508523" y="2297704"/>
                  </a:cubicBezTo>
                  <a:cubicBezTo>
                    <a:pt x="2282498" y="2301006"/>
                    <a:pt x="2271069" y="2301722"/>
                    <a:pt x="2254998" y="2313660"/>
                  </a:cubicBezTo>
                  <a:cubicBezTo>
                    <a:pt x="2223850" y="2336797"/>
                    <a:pt x="2223088" y="2342200"/>
                    <a:pt x="2222996" y="2537572"/>
                  </a:cubicBezTo>
                  <a:lnTo>
                    <a:pt x="2222903" y="2719598"/>
                  </a:lnTo>
                  <a:lnTo>
                    <a:pt x="2207895" y="2734607"/>
                  </a:lnTo>
                  <a:cubicBezTo>
                    <a:pt x="2187322" y="2755181"/>
                    <a:pt x="2160469" y="2754558"/>
                    <a:pt x="2143613" y="2733106"/>
                  </a:cubicBezTo>
                  <a:close/>
                  <a:moveTo>
                    <a:pt x="1306495" y="2731213"/>
                  </a:moveTo>
                  <a:cubicBezTo>
                    <a:pt x="1294544" y="2719252"/>
                    <a:pt x="1294276" y="2710846"/>
                    <a:pt x="1294276" y="2345918"/>
                  </a:cubicBezTo>
                  <a:cubicBezTo>
                    <a:pt x="1294276" y="2094619"/>
                    <a:pt x="1296391" y="1968889"/>
                    <a:pt x="1300757" y="1960738"/>
                  </a:cubicBezTo>
                  <a:cubicBezTo>
                    <a:pt x="1316440" y="1931436"/>
                    <a:pt x="1364889" y="1934184"/>
                    <a:pt x="1379013" y="1965172"/>
                  </a:cubicBezTo>
                  <a:cubicBezTo>
                    <a:pt x="1383896" y="1975909"/>
                    <a:pt x="1385914" y="2087184"/>
                    <a:pt x="1385914" y="2345779"/>
                  </a:cubicBezTo>
                  <a:cubicBezTo>
                    <a:pt x="1385914" y="2706251"/>
                    <a:pt x="1385741" y="2711447"/>
                    <a:pt x="1373252" y="2727333"/>
                  </a:cubicBezTo>
                  <a:cubicBezTo>
                    <a:pt x="1357387" y="2747515"/>
                    <a:pt x="1324685" y="2749408"/>
                    <a:pt x="1306495" y="2731213"/>
                  </a:cubicBezTo>
                  <a:close/>
                  <a:moveTo>
                    <a:pt x="1752912" y="2727333"/>
                  </a:moveTo>
                  <a:cubicBezTo>
                    <a:pt x="1740374" y="2711401"/>
                    <a:pt x="1740259" y="2706898"/>
                    <a:pt x="1740259" y="2290292"/>
                  </a:cubicBezTo>
                  <a:lnTo>
                    <a:pt x="1740259" y="1869344"/>
                  </a:lnTo>
                  <a:lnTo>
                    <a:pt x="1780573" y="1733616"/>
                  </a:lnTo>
                  <a:cubicBezTo>
                    <a:pt x="1823243" y="1589990"/>
                    <a:pt x="1833518" y="1570386"/>
                    <a:pt x="1866098" y="1570386"/>
                  </a:cubicBezTo>
                  <a:cubicBezTo>
                    <a:pt x="1882491" y="1570386"/>
                    <a:pt x="1911307" y="1594978"/>
                    <a:pt x="1911307" y="1608948"/>
                  </a:cubicBezTo>
                  <a:cubicBezTo>
                    <a:pt x="1911307" y="1613659"/>
                    <a:pt x="1893436" y="1676905"/>
                    <a:pt x="1871593" y="1749456"/>
                  </a:cubicBezTo>
                  <a:lnTo>
                    <a:pt x="1831879" y="1881421"/>
                  </a:lnTo>
                  <a:lnTo>
                    <a:pt x="1831879" y="2300198"/>
                  </a:lnTo>
                  <a:cubicBezTo>
                    <a:pt x="1831879" y="2710823"/>
                    <a:pt x="1831648" y="2719205"/>
                    <a:pt x="1819664" y="2731190"/>
                  </a:cubicBezTo>
                  <a:cubicBezTo>
                    <a:pt x="1801469" y="2749362"/>
                    <a:pt x="1768775" y="2747469"/>
                    <a:pt x="1752912" y="2727310"/>
                  </a:cubicBezTo>
                  <a:close/>
                  <a:moveTo>
                    <a:pt x="958117" y="1987662"/>
                  </a:moveTo>
                  <a:cubicBezTo>
                    <a:pt x="922630" y="1963209"/>
                    <a:pt x="652340" y="1733639"/>
                    <a:pt x="646752" y="1723202"/>
                  </a:cubicBezTo>
                  <a:cubicBezTo>
                    <a:pt x="638816" y="1708378"/>
                    <a:pt x="638841" y="1664551"/>
                    <a:pt x="646796" y="1649681"/>
                  </a:cubicBezTo>
                  <a:cubicBezTo>
                    <a:pt x="653425" y="1637304"/>
                    <a:pt x="941144" y="1393441"/>
                    <a:pt x="962825" y="1381849"/>
                  </a:cubicBezTo>
                  <a:cubicBezTo>
                    <a:pt x="984257" y="1370396"/>
                    <a:pt x="1021976" y="1373444"/>
                    <a:pt x="1040681" y="1388153"/>
                  </a:cubicBezTo>
                  <a:cubicBezTo>
                    <a:pt x="1064519" y="1406903"/>
                    <a:pt x="1074365" y="1435120"/>
                    <a:pt x="1074365" y="1484673"/>
                  </a:cubicBezTo>
                  <a:lnTo>
                    <a:pt x="1074365" y="1527645"/>
                  </a:lnTo>
                  <a:lnTo>
                    <a:pt x="1274440" y="1527737"/>
                  </a:lnTo>
                  <a:cubicBezTo>
                    <a:pt x="1493240" y="1527830"/>
                    <a:pt x="1494538" y="1528015"/>
                    <a:pt x="1518613" y="1563760"/>
                  </a:cubicBezTo>
                  <a:cubicBezTo>
                    <a:pt x="1531728" y="1583225"/>
                    <a:pt x="1532539" y="1590383"/>
                    <a:pt x="1532539" y="1686487"/>
                  </a:cubicBezTo>
                  <a:cubicBezTo>
                    <a:pt x="1532539" y="1782592"/>
                    <a:pt x="1531728" y="1789750"/>
                    <a:pt x="1518611" y="1809216"/>
                  </a:cubicBezTo>
                  <a:cubicBezTo>
                    <a:pt x="1494526" y="1844960"/>
                    <a:pt x="1493229" y="1845145"/>
                    <a:pt x="1274437" y="1845237"/>
                  </a:cubicBezTo>
                  <a:lnTo>
                    <a:pt x="1074362" y="1845330"/>
                  </a:lnTo>
                  <a:lnTo>
                    <a:pt x="1074362" y="1888302"/>
                  </a:lnTo>
                  <a:cubicBezTo>
                    <a:pt x="1074362" y="1937855"/>
                    <a:pt x="1064514" y="1966072"/>
                    <a:pt x="1040679" y="1984822"/>
                  </a:cubicBezTo>
                  <a:cubicBezTo>
                    <a:pt x="1019979" y="2001101"/>
                    <a:pt x="979653" y="2002510"/>
                    <a:pt x="958122" y="1987662"/>
                  </a:cubicBezTo>
                  <a:close/>
                  <a:moveTo>
                    <a:pt x="1000198" y="1765343"/>
                  </a:moveTo>
                  <a:cubicBezTo>
                    <a:pt x="1013773" y="1754375"/>
                    <a:pt x="1027151" y="1753682"/>
                    <a:pt x="1227764" y="1753682"/>
                  </a:cubicBezTo>
                  <a:lnTo>
                    <a:pt x="1440907" y="1753682"/>
                  </a:lnTo>
                  <a:lnTo>
                    <a:pt x="1440907" y="1619709"/>
                  </a:lnTo>
                  <a:lnTo>
                    <a:pt x="1224242" y="1617977"/>
                  </a:lnTo>
                  <a:cubicBezTo>
                    <a:pt x="1025994" y="1616361"/>
                    <a:pt x="1006652" y="1615298"/>
                    <a:pt x="996677" y="1605346"/>
                  </a:cubicBezTo>
                  <a:cubicBezTo>
                    <a:pt x="988374" y="1597057"/>
                    <a:pt x="985047" y="1581193"/>
                    <a:pt x="982719" y="1538821"/>
                  </a:cubicBezTo>
                  <a:lnTo>
                    <a:pt x="979664" y="1483195"/>
                  </a:lnTo>
                  <a:lnTo>
                    <a:pt x="859395" y="1583294"/>
                  </a:lnTo>
                  <a:cubicBezTo>
                    <a:pt x="793247" y="1638366"/>
                    <a:pt x="739139" y="1684802"/>
                    <a:pt x="739152" y="1686464"/>
                  </a:cubicBezTo>
                  <a:cubicBezTo>
                    <a:pt x="739171" y="1688150"/>
                    <a:pt x="793289" y="1734540"/>
                    <a:pt x="859422" y="1789565"/>
                  </a:cubicBezTo>
                  <a:lnTo>
                    <a:pt x="979664" y="1889618"/>
                  </a:lnTo>
                  <a:lnTo>
                    <a:pt x="982719" y="1833299"/>
                  </a:lnTo>
                  <a:cubicBezTo>
                    <a:pt x="985423" y="1783469"/>
                    <a:pt x="987430" y="1775664"/>
                    <a:pt x="1000196" y="1765343"/>
                  </a:cubicBezTo>
                  <a:close/>
                  <a:moveTo>
                    <a:pt x="1887340" y="1456548"/>
                  </a:moveTo>
                  <a:cubicBezTo>
                    <a:pt x="1880367" y="1447681"/>
                    <a:pt x="1874664" y="1436528"/>
                    <a:pt x="1874664" y="1431749"/>
                  </a:cubicBezTo>
                  <a:cubicBezTo>
                    <a:pt x="1874664" y="1426969"/>
                    <a:pt x="1888172" y="1378270"/>
                    <a:pt x="1904681" y="1323545"/>
                  </a:cubicBezTo>
                  <a:cubicBezTo>
                    <a:pt x="1921190" y="1268819"/>
                    <a:pt x="1940562" y="1196868"/>
                    <a:pt x="1947766" y="1163640"/>
                  </a:cubicBezTo>
                  <a:cubicBezTo>
                    <a:pt x="1962567" y="1095383"/>
                    <a:pt x="1971456" y="1081644"/>
                    <a:pt x="2000849" y="1081644"/>
                  </a:cubicBezTo>
                  <a:cubicBezTo>
                    <a:pt x="2027310" y="1081644"/>
                    <a:pt x="2045736" y="1099863"/>
                    <a:pt x="2045667" y="1125932"/>
                  </a:cubicBezTo>
                  <a:cubicBezTo>
                    <a:pt x="2045528" y="1175924"/>
                    <a:pt x="1971318" y="1438006"/>
                    <a:pt x="1950906" y="1460566"/>
                  </a:cubicBezTo>
                  <a:cubicBezTo>
                    <a:pt x="1934628" y="1478577"/>
                    <a:pt x="1903087" y="1476568"/>
                    <a:pt x="1887340" y="1456548"/>
                  </a:cubicBezTo>
                  <a:close/>
                  <a:moveTo>
                    <a:pt x="2260101" y="1134753"/>
                  </a:moveTo>
                  <a:cubicBezTo>
                    <a:pt x="2225582" y="1122654"/>
                    <a:pt x="2214175" y="1100763"/>
                    <a:pt x="2210666" y="1039988"/>
                  </a:cubicBezTo>
                  <a:lnTo>
                    <a:pt x="2207618" y="986948"/>
                  </a:lnTo>
                  <a:lnTo>
                    <a:pt x="1999302" y="983877"/>
                  </a:lnTo>
                  <a:cubicBezTo>
                    <a:pt x="1774339" y="980575"/>
                    <a:pt x="1779303" y="981361"/>
                    <a:pt x="1761247" y="946447"/>
                  </a:cubicBezTo>
                  <a:cubicBezTo>
                    <a:pt x="1754620" y="933632"/>
                    <a:pt x="1752496" y="903567"/>
                    <a:pt x="1752496" y="823118"/>
                  </a:cubicBezTo>
                  <a:cubicBezTo>
                    <a:pt x="1752496" y="724474"/>
                    <a:pt x="1753420" y="715538"/>
                    <a:pt x="1765242" y="700506"/>
                  </a:cubicBezTo>
                  <a:cubicBezTo>
                    <a:pt x="1791749" y="666816"/>
                    <a:pt x="1796182" y="666193"/>
                    <a:pt x="2011817" y="666193"/>
                  </a:cubicBezTo>
                  <a:lnTo>
                    <a:pt x="2210666" y="666193"/>
                  </a:lnTo>
                  <a:lnTo>
                    <a:pt x="2210666" y="614469"/>
                  </a:lnTo>
                  <a:cubicBezTo>
                    <a:pt x="2210666" y="565447"/>
                    <a:pt x="2211659" y="561637"/>
                    <a:pt x="2229461" y="541340"/>
                  </a:cubicBezTo>
                  <a:cubicBezTo>
                    <a:pt x="2249410" y="518642"/>
                    <a:pt x="2278042" y="509105"/>
                    <a:pt x="2305588" y="516009"/>
                  </a:cubicBezTo>
                  <a:cubicBezTo>
                    <a:pt x="2319973" y="519635"/>
                    <a:pt x="2593309" y="743616"/>
                    <a:pt x="2624826" y="777629"/>
                  </a:cubicBezTo>
                  <a:cubicBezTo>
                    <a:pt x="2642375" y="796587"/>
                    <a:pt x="2648378" y="831270"/>
                    <a:pt x="2638334" y="855561"/>
                  </a:cubicBezTo>
                  <a:cubicBezTo>
                    <a:pt x="2629814" y="876135"/>
                    <a:pt x="2362204" y="1105567"/>
                    <a:pt x="2319395" y="1128981"/>
                  </a:cubicBezTo>
                  <a:cubicBezTo>
                    <a:pt x="2290926" y="1144567"/>
                    <a:pt x="2288732" y="1144775"/>
                    <a:pt x="2260124" y="1134753"/>
                  </a:cubicBezTo>
                  <a:close/>
                  <a:moveTo>
                    <a:pt x="2429002" y="924210"/>
                  </a:moveTo>
                  <a:cubicBezTo>
                    <a:pt x="2490698" y="872394"/>
                    <a:pt x="2540364" y="827829"/>
                    <a:pt x="2539348" y="825151"/>
                  </a:cubicBezTo>
                  <a:cubicBezTo>
                    <a:pt x="2538332" y="822495"/>
                    <a:pt x="2484857" y="776082"/>
                    <a:pt x="2420505" y="722049"/>
                  </a:cubicBezTo>
                  <a:lnTo>
                    <a:pt x="2303510" y="623821"/>
                  </a:lnTo>
                  <a:lnTo>
                    <a:pt x="2301385" y="679146"/>
                  </a:lnTo>
                  <a:cubicBezTo>
                    <a:pt x="2298130" y="763405"/>
                    <a:pt x="2315401" y="757840"/>
                    <a:pt x="2057258" y="757840"/>
                  </a:cubicBezTo>
                  <a:lnTo>
                    <a:pt x="1844116" y="757840"/>
                  </a:lnTo>
                  <a:lnTo>
                    <a:pt x="1844116" y="898349"/>
                  </a:lnTo>
                  <a:lnTo>
                    <a:pt x="2276980" y="898349"/>
                  </a:lnTo>
                  <a:lnTo>
                    <a:pt x="2289633" y="914443"/>
                  </a:lnTo>
                  <a:cubicBezTo>
                    <a:pt x="2300023" y="927651"/>
                    <a:pt x="2302286" y="939243"/>
                    <a:pt x="2302286" y="978959"/>
                  </a:cubicBezTo>
                  <a:cubicBezTo>
                    <a:pt x="2302286" y="1014727"/>
                    <a:pt x="2304179" y="1026203"/>
                    <a:pt x="2309536" y="1022901"/>
                  </a:cubicBezTo>
                  <a:cubicBezTo>
                    <a:pt x="2313531" y="1020430"/>
                    <a:pt x="2367284" y="976027"/>
                    <a:pt x="2428979" y="924210"/>
                  </a:cubicBezTo>
                  <a:close/>
                </a:path>
              </a:pathLst>
            </a:custGeom>
            <a:solidFill>
              <a:srgbClr val="03556D"/>
            </a:solidFill>
            <a:ln w="6108" cap="flat">
              <a:noFill/>
              <a:prstDash val="solid"/>
              <a:miter/>
            </a:ln>
          </p:spPr>
          <p:txBody>
            <a:bodyPr rtlCol="0" anchor="ctr"/>
            <a:lstStyle/>
            <a:p>
              <a:endParaRPr lang="en-US" dirty="0"/>
            </a:p>
          </p:txBody>
        </p:sp>
      </p:grpSp>
      <p:sp>
        <p:nvSpPr>
          <p:cNvPr id="98" name="Graphic 8">
            <a:extLst>
              <a:ext uri="{FF2B5EF4-FFF2-40B4-BE49-F238E27FC236}">
                <a16:creationId xmlns:a16="http://schemas.microsoft.com/office/drawing/2014/main" id="{8D7CF2BD-F644-4DD5-B5F9-88C7C745624D}"/>
              </a:ext>
            </a:extLst>
          </p:cNvPr>
          <p:cNvSpPr/>
          <p:nvPr/>
        </p:nvSpPr>
        <p:spPr>
          <a:xfrm>
            <a:off x="4247190" y="1348722"/>
            <a:ext cx="365760" cy="365760"/>
          </a:xfrm>
          <a:custGeom>
            <a:avLst/>
            <a:gdLst>
              <a:gd name="connsiteX0" fmla="*/ 2098492 w 3027807"/>
              <a:gd name="connsiteY0" fmla="*/ 2727422 h 3027049"/>
              <a:gd name="connsiteX1" fmla="*/ 2062680 w 3027807"/>
              <a:gd name="connsiteY1" fmla="*/ 2382975 h 3027049"/>
              <a:gd name="connsiteX2" fmla="*/ 1942128 w 3027807"/>
              <a:gd name="connsiteY2" fmla="*/ 2355220 h 3027049"/>
              <a:gd name="connsiteX3" fmla="*/ 1798889 w 3027807"/>
              <a:gd name="connsiteY3" fmla="*/ 2324532 h 3027049"/>
              <a:gd name="connsiteX4" fmla="*/ 1577920 w 3027807"/>
              <a:gd name="connsiteY4" fmla="*/ 2105007 h 3027049"/>
              <a:gd name="connsiteX5" fmla="*/ 1562279 w 3027807"/>
              <a:gd name="connsiteY5" fmla="*/ 1910997 h 3027049"/>
              <a:gd name="connsiteX6" fmla="*/ 1559968 w 3027807"/>
              <a:gd name="connsiteY6" fmla="*/ 1757142 h 3027049"/>
              <a:gd name="connsiteX7" fmla="*/ 1209604 w 3027807"/>
              <a:gd name="connsiteY7" fmla="*/ 1753263 h 3027049"/>
              <a:gd name="connsiteX8" fmla="*/ 1169895 w 3027807"/>
              <a:gd name="connsiteY8" fmla="*/ 1734259 h 3027049"/>
              <a:gd name="connsiteX9" fmla="*/ 1049375 w 3027807"/>
              <a:gd name="connsiteY9" fmla="*/ 1617234 h 3027049"/>
              <a:gd name="connsiteX10" fmla="*/ 1026329 w 3027807"/>
              <a:gd name="connsiteY10" fmla="*/ 1511940 h 3027049"/>
              <a:gd name="connsiteX11" fmla="*/ 1049375 w 3027807"/>
              <a:gd name="connsiteY11" fmla="*/ 1406622 h 3027049"/>
              <a:gd name="connsiteX12" fmla="*/ 1169895 w 3027807"/>
              <a:gd name="connsiteY12" fmla="*/ 1289620 h 3027049"/>
              <a:gd name="connsiteX13" fmla="*/ 1209604 w 3027807"/>
              <a:gd name="connsiteY13" fmla="*/ 1270617 h 3027049"/>
              <a:gd name="connsiteX14" fmla="*/ 1551725 w 3027807"/>
              <a:gd name="connsiteY14" fmla="*/ 1267545 h 3027049"/>
              <a:gd name="connsiteX15" fmla="*/ 1915229 w 3027807"/>
              <a:gd name="connsiteY15" fmla="*/ 1254753 h 3027049"/>
              <a:gd name="connsiteX16" fmla="*/ 1990063 w 3027807"/>
              <a:gd name="connsiteY16" fmla="*/ 1177119 h 3027049"/>
              <a:gd name="connsiteX17" fmla="*/ 2000499 w 3027807"/>
              <a:gd name="connsiteY17" fmla="*/ 1013675 h 3027049"/>
              <a:gd name="connsiteX18" fmla="*/ 2003801 w 3027807"/>
              <a:gd name="connsiteY18" fmla="*/ 866713 h 3027049"/>
              <a:gd name="connsiteX19" fmla="*/ 2026637 w 3027807"/>
              <a:gd name="connsiteY19" fmla="*/ 820563 h 3027049"/>
              <a:gd name="connsiteX20" fmla="*/ 2146288 w 3027807"/>
              <a:gd name="connsiteY20" fmla="*/ 703432 h 3027049"/>
              <a:gd name="connsiteX21" fmla="*/ 2187087 w 3027807"/>
              <a:gd name="connsiteY21" fmla="*/ 684101 h 3027049"/>
              <a:gd name="connsiteX22" fmla="*/ 2504756 w 3027807"/>
              <a:gd name="connsiteY22" fmla="*/ 681046 h 3027049"/>
              <a:gd name="connsiteX23" fmla="*/ 2891763 w 3027807"/>
              <a:gd name="connsiteY23" fmla="*/ 628703 h 3027049"/>
              <a:gd name="connsiteX24" fmla="*/ 2921895 w 3027807"/>
              <a:gd name="connsiteY24" fmla="*/ 489306 h 3027049"/>
              <a:gd name="connsiteX25" fmla="*/ 2827827 w 3027807"/>
              <a:gd name="connsiteY25" fmla="*/ 395219 h 3027049"/>
              <a:gd name="connsiteX26" fmla="*/ 2133381 w 3027807"/>
              <a:gd name="connsiteY26" fmla="*/ 387789 h 3027049"/>
              <a:gd name="connsiteX27" fmla="*/ 1464072 w 3027807"/>
              <a:gd name="connsiteY27" fmla="*/ 387789 h 3027049"/>
              <a:gd name="connsiteX28" fmla="*/ 1461756 w 3027807"/>
              <a:gd name="connsiteY28" fmla="*/ 542052 h 3027049"/>
              <a:gd name="connsiteX29" fmla="*/ 1446110 w 3027807"/>
              <a:gd name="connsiteY29" fmla="*/ 736468 h 3027049"/>
              <a:gd name="connsiteX30" fmla="*/ 1225141 w 3027807"/>
              <a:gd name="connsiteY30" fmla="*/ 956017 h 3027049"/>
              <a:gd name="connsiteX31" fmla="*/ 1081897 w 3027807"/>
              <a:gd name="connsiteY31" fmla="*/ 986688 h 3027049"/>
              <a:gd name="connsiteX32" fmla="*/ 936411 w 3027807"/>
              <a:gd name="connsiteY32" fmla="*/ 1036983 h 3027049"/>
              <a:gd name="connsiteX33" fmla="*/ 925540 w 3027807"/>
              <a:gd name="connsiteY33" fmla="*/ 1719642 h 3027049"/>
              <a:gd name="connsiteX34" fmla="*/ 922486 w 3027807"/>
              <a:gd name="connsiteY34" fmla="*/ 2388632 h 3027049"/>
              <a:gd name="connsiteX35" fmla="*/ 906480 w 3027807"/>
              <a:gd name="connsiteY35" fmla="*/ 2422761 h 3027049"/>
              <a:gd name="connsiteX36" fmla="*/ 809992 w 3027807"/>
              <a:gd name="connsiteY36" fmla="*/ 2519211 h 3027049"/>
              <a:gd name="connsiteX37" fmla="*/ 603279 w 3027807"/>
              <a:gd name="connsiteY37" fmla="*/ 2487923 h 3027049"/>
              <a:gd name="connsiteX38" fmla="*/ 583424 w 3027807"/>
              <a:gd name="connsiteY38" fmla="*/ 2468711 h 3027049"/>
              <a:gd name="connsiteX39" fmla="*/ 563570 w 3027807"/>
              <a:gd name="connsiteY39" fmla="*/ 2487923 h 3027049"/>
              <a:gd name="connsiteX40" fmla="*/ 300347 w 3027807"/>
              <a:gd name="connsiteY40" fmla="*/ 2480857 h 3027049"/>
              <a:gd name="connsiteX41" fmla="*/ 261166 w 3027807"/>
              <a:gd name="connsiteY41" fmla="*/ 2426617 h 3027049"/>
              <a:gd name="connsiteX42" fmla="*/ 244366 w 3027807"/>
              <a:gd name="connsiteY42" fmla="*/ 2394751 h 3027049"/>
              <a:gd name="connsiteX43" fmla="*/ 240863 w 3027807"/>
              <a:gd name="connsiteY43" fmla="*/ 1660114 h 3027049"/>
              <a:gd name="connsiteX44" fmla="*/ 193621 w 3027807"/>
              <a:gd name="connsiteY44" fmla="*/ 1657366 h 3027049"/>
              <a:gd name="connsiteX45" fmla="*/ 16800 w 3027807"/>
              <a:gd name="connsiteY45" fmla="*/ 1546853 h 3027049"/>
              <a:gd name="connsiteX46" fmla="*/ 0 w 3027807"/>
              <a:gd name="connsiteY46" fmla="*/ 1514988 h 3027049"/>
              <a:gd name="connsiteX47" fmla="*/ 0 w 3027807"/>
              <a:gd name="connsiteY47" fmla="*/ 1276713 h 3027049"/>
              <a:gd name="connsiteX48" fmla="*/ 11543 w 3027807"/>
              <a:gd name="connsiteY48" fmla="*/ 995835 h 3027049"/>
              <a:gd name="connsiteX49" fmla="*/ 347775 w 3027807"/>
              <a:gd name="connsiteY49" fmla="*/ 617306 h 3027049"/>
              <a:gd name="connsiteX50" fmla="*/ 371754 w 3027807"/>
              <a:gd name="connsiteY50" fmla="*/ 607450 h 3027049"/>
              <a:gd name="connsiteX51" fmla="*/ 345351 w 3027807"/>
              <a:gd name="connsiteY51" fmla="*/ 581619 h 3027049"/>
              <a:gd name="connsiteX52" fmla="*/ 258587 w 3027807"/>
              <a:gd name="connsiteY52" fmla="*/ 443927 h 3027049"/>
              <a:gd name="connsiteX53" fmla="*/ 244550 w 3027807"/>
              <a:gd name="connsiteY53" fmla="*/ 338905 h 3027049"/>
              <a:gd name="connsiteX54" fmla="*/ 258587 w 3027807"/>
              <a:gd name="connsiteY54" fmla="*/ 233879 h 3027049"/>
              <a:gd name="connsiteX55" fmla="*/ 478417 w 3027807"/>
              <a:gd name="connsiteY55" fmla="*/ 14039 h 3027049"/>
              <a:gd name="connsiteX56" fmla="*/ 583436 w 3027807"/>
              <a:gd name="connsiteY56" fmla="*/ 0 h 3027049"/>
              <a:gd name="connsiteX57" fmla="*/ 756025 w 3027807"/>
              <a:gd name="connsiteY57" fmla="*/ 44168 h 3027049"/>
              <a:gd name="connsiteX58" fmla="*/ 864685 w 3027807"/>
              <a:gd name="connsiteY58" fmla="*/ 146824 h 3027049"/>
              <a:gd name="connsiteX59" fmla="*/ 991256 w 3027807"/>
              <a:gd name="connsiteY59" fmla="*/ 194823 h 3027049"/>
              <a:gd name="connsiteX60" fmla="*/ 1114932 w 3027807"/>
              <a:gd name="connsiteY60" fmla="*/ 226032 h 3027049"/>
              <a:gd name="connsiteX61" fmla="*/ 1135766 w 3027807"/>
              <a:gd name="connsiteY61" fmla="*/ 200448 h 3027049"/>
              <a:gd name="connsiteX62" fmla="*/ 1215185 w 3027807"/>
              <a:gd name="connsiteY62" fmla="*/ 114138 h 3027049"/>
              <a:gd name="connsiteX63" fmla="*/ 1368464 w 3027807"/>
              <a:gd name="connsiteY63" fmla="*/ 113954 h 3027049"/>
              <a:gd name="connsiteX64" fmla="*/ 1461617 w 3027807"/>
              <a:gd name="connsiteY64" fmla="*/ 254319 h 3027049"/>
              <a:gd name="connsiteX65" fmla="*/ 1464831 w 3027807"/>
              <a:gd name="connsiteY65" fmla="*/ 289763 h 3027049"/>
              <a:gd name="connsiteX66" fmla="*/ 2841427 w 3027807"/>
              <a:gd name="connsiteY66" fmla="*/ 293070 h 3027049"/>
              <a:gd name="connsiteX67" fmla="*/ 2888045 w 3027807"/>
              <a:gd name="connsiteY67" fmla="*/ 316117 h 3027049"/>
              <a:gd name="connsiteX68" fmla="*/ 3005041 w 3027807"/>
              <a:gd name="connsiteY68" fmla="*/ 436642 h 3027049"/>
              <a:gd name="connsiteX69" fmla="*/ 3024044 w 3027807"/>
              <a:gd name="connsiteY69" fmla="*/ 534393 h 3027049"/>
              <a:gd name="connsiteX70" fmla="*/ 3005041 w 3027807"/>
              <a:gd name="connsiteY70" fmla="*/ 632144 h 3027049"/>
              <a:gd name="connsiteX71" fmla="*/ 2888045 w 3027807"/>
              <a:gd name="connsiteY71" fmla="*/ 752669 h 3027049"/>
              <a:gd name="connsiteX72" fmla="*/ 2841451 w 3027807"/>
              <a:gd name="connsiteY72" fmla="*/ 775716 h 3027049"/>
              <a:gd name="connsiteX73" fmla="*/ 2523435 w 3027807"/>
              <a:gd name="connsiteY73" fmla="*/ 778771 h 3027049"/>
              <a:gd name="connsiteX74" fmla="*/ 2140007 w 3027807"/>
              <a:gd name="connsiteY74" fmla="*/ 825408 h 3027049"/>
              <a:gd name="connsiteX75" fmla="*/ 2098423 w 3027807"/>
              <a:gd name="connsiteY75" fmla="*/ 1025444 h 3027049"/>
              <a:gd name="connsiteX76" fmla="*/ 2090203 w 3027807"/>
              <a:gd name="connsiteY76" fmla="*/ 1178941 h 3027049"/>
              <a:gd name="connsiteX77" fmla="*/ 1959446 w 3027807"/>
              <a:gd name="connsiteY77" fmla="*/ 1339173 h 3027049"/>
              <a:gd name="connsiteX78" fmla="*/ 1912827 w 3027807"/>
              <a:gd name="connsiteY78" fmla="*/ 1362218 h 3027049"/>
              <a:gd name="connsiteX79" fmla="*/ 1570393 w 3027807"/>
              <a:gd name="connsiteY79" fmla="*/ 1365289 h 3027049"/>
              <a:gd name="connsiteX80" fmla="*/ 1162536 w 3027807"/>
              <a:gd name="connsiteY80" fmla="*/ 1411910 h 3027049"/>
              <a:gd name="connsiteX81" fmla="*/ 1128467 w 3027807"/>
              <a:gd name="connsiteY81" fmla="*/ 1557013 h 3027049"/>
              <a:gd name="connsiteX82" fmla="*/ 1222548 w 3027807"/>
              <a:gd name="connsiteY82" fmla="*/ 1651109 h 3027049"/>
              <a:gd name="connsiteX83" fmla="*/ 1403447 w 3027807"/>
              <a:gd name="connsiteY83" fmla="*/ 1658544 h 3027049"/>
              <a:gd name="connsiteX84" fmla="*/ 1559201 w 3027807"/>
              <a:gd name="connsiteY84" fmla="*/ 1658544 h 3027049"/>
              <a:gd name="connsiteX85" fmla="*/ 1562422 w 3027807"/>
              <a:gd name="connsiteY85" fmla="*/ 1623030 h 3027049"/>
              <a:gd name="connsiteX86" fmla="*/ 1658646 w 3027807"/>
              <a:gd name="connsiteY86" fmla="*/ 1480652 h 3027049"/>
              <a:gd name="connsiteX87" fmla="*/ 1808871 w 3027807"/>
              <a:gd name="connsiteY87" fmla="*/ 1482660 h 3027049"/>
              <a:gd name="connsiteX88" fmla="*/ 1888283 w 3027807"/>
              <a:gd name="connsiteY88" fmla="*/ 1568951 h 3027049"/>
              <a:gd name="connsiteX89" fmla="*/ 1909133 w 3027807"/>
              <a:gd name="connsiteY89" fmla="*/ 1594536 h 3027049"/>
              <a:gd name="connsiteX90" fmla="*/ 2032455 w 3027807"/>
              <a:gd name="connsiteY90" fmla="*/ 1563409 h 3027049"/>
              <a:gd name="connsiteX91" fmla="*/ 2161527 w 3027807"/>
              <a:gd name="connsiteY91" fmla="*/ 1512771 h 3027049"/>
              <a:gd name="connsiteX92" fmla="*/ 2335601 w 3027807"/>
              <a:gd name="connsiteY92" fmla="*/ 1382538 h 3027049"/>
              <a:gd name="connsiteX93" fmla="*/ 2545648 w 3027807"/>
              <a:gd name="connsiteY93" fmla="*/ 1382538 h 3027049"/>
              <a:gd name="connsiteX94" fmla="*/ 2766155 w 3027807"/>
              <a:gd name="connsiteY94" fmla="*/ 1606358 h 3027049"/>
              <a:gd name="connsiteX95" fmla="*/ 2765393 w 3027807"/>
              <a:gd name="connsiteY95" fmla="*/ 1812445 h 3027049"/>
              <a:gd name="connsiteX96" fmla="*/ 2678991 w 3027807"/>
              <a:gd name="connsiteY96" fmla="*/ 1950413 h 3027049"/>
              <a:gd name="connsiteX97" fmla="*/ 2655093 w 3027807"/>
              <a:gd name="connsiteY97" fmla="*/ 1978353 h 3027049"/>
              <a:gd name="connsiteX98" fmla="*/ 2688042 w 3027807"/>
              <a:gd name="connsiteY98" fmla="*/ 1991284 h 3027049"/>
              <a:gd name="connsiteX99" fmla="*/ 2981605 w 3027807"/>
              <a:gd name="connsiteY99" fmla="*/ 2275903 h 3027049"/>
              <a:gd name="connsiteX100" fmla="*/ 3025637 w 3027807"/>
              <a:gd name="connsiteY100" fmla="*/ 2713937 h 3027049"/>
              <a:gd name="connsiteX101" fmla="*/ 3027808 w 3027807"/>
              <a:gd name="connsiteY101" fmla="*/ 3027050 h 3027049"/>
              <a:gd name="connsiteX102" fmla="*/ 2098515 w 3027807"/>
              <a:gd name="connsiteY102" fmla="*/ 3027050 h 3027049"/>
              <a:gd name="connsiteX103" fmla="*/ 2684971 w 3027807"/>
              <a:gd name="connsiteY103" fmla="*/ 2611644 h 3027049"/>
              <a:gd name="connsiteX104" fmla="*/ 2684971 w 3027807"/>
              <a:gd name="connsiteY104" fmla="*/ 2293960 h 3027049"/>
              <a:gd name="connsiteX105" fmla="*/ 2782710 w 3027807"/>
              <a:gd name="connsiteY105" fmla="*/ 2293960 h 3027049"/>
              <a:gd name="connsiteX106" fmla="*/ 2782710 w 3027807"/>
              <a:gd name="connsiteY106" fmla="*/ 2929352 h 3027049"/>
              <a:gd name="connsiteX107" fmla="*/ 2930046 w 3027807"/>
              <a:gd name="connsiteY107" fmla="*/ 2929352 h 3027049"/>
              <a:gd name="connsiteX108" fmla="*/ 2928037 w 3027807"/>
              <a:gd name="connsiteY108" fmla="*/ 2668171 h 3027049"/>
              <a:gd name="connsiteX109" fmla="*/ 2926028 w 3027807"/>
              <a:gd name="connsiteY109" fmla="*/ 2406990 h 3027049"/>
              <a:gd name="connsiteX110" fmla="*/ 2910166 w 3027807"/>
              <a:gd name="connsiteY110" fmla="*/ 2360161 h 3027049"/>
              <a:gd name="connsiteX111" fmla="*/ 2798527 w 3027807"/>
              <a:gd name="connsiteY111" fmla="*/ 2180399 h 3027049"/>
              <a:gd name="connsiteX112" fmla="*/ 2618796 w 3027807"/>
              <a:gd name="connsiteY112" fmla="*/ 2068800 h 3027049"/>
              <a:gd name="connsiteX113" fmla="*/ 2571947 w 3027807"/>
              <a:gd name="connsiteY113" fmla="*/ 2052960 h 3027049"/>
              <a:gd name="connsiteX114" fmla="*/ 2251207 w 3027807"/>
              <a:gd name="connsiteY114" fmla="*/ 2049750 h 3027049"/>
              <a:gd name="connsiteX115" fmla="*/ 1905323 w 3027807"/>
              <a:gd name="connsiteY115" fmla="*/ 2033078 h 3027049"/>
              <a:gd name="connsiteX116" fmla="*/ 1824805 w 3027807"/>
              <a:gd name="connsiteY116" fmla="*/ 1955631 h 3027049"/>
              <a:gd name="connsiteX117" fmla="*/ 1805250 w 3027807"/>
              <a:gd name="connsiteY117" fmla="*/ 1764069 h 3027049"/>
              <a:gd name="connsiteX118" fmla="*/ 1802181 w 3027807"/>
              <a:gd name="connsiteY118" fmla="*/ 1603795 h 3027049"/>
              <a:gd name="connsiteX119" fmla="*/ 1782209 w 3027807"/>
              <a:gd name="connsiteY119" fmla="*/ 1583845 h 3027049"/>
              <a:gd name="connsiteX120" fmla="*/ 1731926 w 3027807"/>
              <a:gd name="connsiteY120" fmla="*/ 1563894 h 3027049"/>
              <a:gd name="connsiteX121" fmla="*/ 1681644 w 3027807"/>
              <a:gd name="connsiteY121" fmla="*/ 1583868 h 3027049"/>
              <a:gd name="connsiteX122" fmla="*/ 1661671 w 3027807"/>
              <a:gd name="connsiteY122" fmla="*/ 1603842 h 3027049"/>
              <a:gd name="connsiteX123" fmla="*/ 1661671 w 3027807"/>
              <a:gd name="connsiteY123" fmla="*/ 2058755 h 3027049"/>
              <a:gd name="connsiteX124" fmla="*/ 1681004 w 3027807"/>
              <a:gd name="connsiteY124" fmla="*/ 2099557 h 3027049"/>
              <a:gd name="connsiteX125" fmla="*/ 1787180 w 3027807"/>
              <a:gd name="connsiteY125" fmla="*/ 2214203 h 3027049"/>
              <a:gd name="connsiteX126" fmla="*/ 1952865 w 3027807"/>
              <a:gd name="connsiteY126" fmla="*/ 2258076 h 3027049"/>
              <a:gd name="connsiteX127" fmla="*/ 2104565 w 3027807"/>
              <a:gd name="connsiteY127" fmla="*/ 2293960 h 3027049"/>
              <a:gd name="connsiteX128" fmla="*/ 2187087 w 3027807"/>
              <a:gd name="connsiteY128" fmla="*/ 2393735 h 3027049"/>
              <a:gd name="connsiteX129" fmla="*/ 2196231 w 3027807"/>
              <a:gd name="connsiteY129" fmla="*/ 2676922 h 3027049"/>
              <a:gd name="connsiteX130" fmla="*/ 2196231 w 3027807"/>
              <a:gd name="connsiteY130" fmla="*/ 2929352 h 3027049"/>
              <a:gd name="connsiteX131" fmla="*/ 2684971 w 3027807"/>
              <a:gd name="connsiteY131" fmla="*/ 2929352 h 3027049"/>
              <a:gd name="connsiteX132" fmla="*/ 490338 w 3027807"/>
              <a:gd name="connsiteY132" fmla="*/ 2424261 h 3027049"/>
              <a:gd name="connsiteX133" fmla="*/ 518903 w 3027807"/>
              <a:gd name="connsiteY133" fmla="*/ 2395467 h 3027049"/>
              <a:gd name="connsiteX134" fmla="*/ 533140 w 3027807"/>
              <a:gd name="connsiteY134" fmla="*/ 1920834 h 3027049"/>
              <a:gd name="connsiteX135" fmla="*/ 534781 w 3027807"/>
              <a:gd name="connsiteY135" fmla="*/ 1463079 h 3027049"/>
              <a:gd name="connsiteX136" fmla="*/ 632072 w 3027807"/>
              <a:gd name="connsiteY136" fmla="*/ 1463079 h 3027049"/>
              <a:gd name="connsiteX137" fmla="*/ 633712 w 3027807"/>
              <a:gd name="connsiteY137" fmla="*/ 1920834 h 3027049"/>
              <a:gd name="connsiteX138" fmla="*/ 647949 w 3027807"/>
              <a:gd name="connsiteY138" fmla="*/ 2395467 h 3027049"/>
              <a:gd name="connsiteX139" fmla="*/ 730044 w 3027807"/>
              <a:gd name="connsiteY139" fmla="*/ 2437539 h 3027049"/>
              <a:gd name="connsiteX140" fmla="*/ 812140 w 3027807"/>
              <a:gd name="connsiteY140" fmla="*/ 2395467 h 3027049"/>
              <a:gd name="connsiteX141" fmla="*/ 827790 w 3027807"/>
              <a:gd name="connsiteY141" fmla="*/ 1705465 h 3027049"/>
              <a:gd name="connsiteX142" fmla="*/ 874127 w 3027807"/>
              <a:gd name="connsiteY142" fmla="*/ 962304 h 3027049"/>
              <a:gd name="connsiteX143" fmla="*/ 919805 w 3027807"/>
              <a:gd name="connsiteY143" fmla="*/ 925223 h 3027049"/>
              <a:gd name="connsiteX144" fmla="*/ 1071140 w 3027807"/>
              <a:gd name="connsiteY144" fmla="*/ 889517 h 3027049"/>
              <a:gd name="connsiteX145" fmla="*/ 1236834 w 3027807"/>
              <a:gd name="connsiteY145" fmla="*/ 845642 h 3027049"/>
              <a:gd name="connsiteX146" fmla="*/ 1343010 w 3027807"/>
              <a:gd name="connsiteY146" fmla="*/ 731007 h 3027049"/>
              <a:gd name="connsiteX147" fmla="*/ 1362343 w 3027807"/>
              <a:gd name="connsiteY147" fmla="*/ 690199 h 3027049"/>
              <a:gd name="connsiteX148" fmla="*/ 1362343 w 3027807"/>
              <a:gd name="connsiteY148" fmla="*/ 235285 h 3027049"/>
              <a:gd name="connsiteX149" fmla="*/ 1342370 w 3027807"/>
              <a:gd name="connsiteY149" fmla="*/ 215307 h 3027049"/>
              <a:gd name="connsiteX150" fmla="*/ 1292088 w 3027807"/>
              <a:gd name="connsiteY150" fmla="*/ 195328 h 3027049"/>
              <a:gd name="connsiteX151" fmla="*/ 1241805 w 3027807"/>
              <a:gd name="connsiteY151" fmla="*/ 215288 h 3027049"/>
              <a:gd name="connsiteX152" fmla="*/ 1221835 w 3027807"/>
              <a:gd name="connsiteY152" fmla="*/ 235246 h 3027049"/>
              <a:gd name="connsiteX153" fmla="*/ 1218775 w 3027807"/>
              <a:gd name="connsiteY153" fmla="*/ 395515 h 3027049"/>
              <a:gd name="connsiteX154" fmla="*/ 1201303 w 3027807"/>
              <a:gd name="connsiteY154" fmla="*/ 583279 h 3027049"/>
              <a:gd name="connsiteX155" fmla="*/ 1124087 w 3027807"/>
              <a:gd name="connsiteY155" fmla="*/ 661744 h 3027049"/>
              <a:gd name="connsiteX156" fmla="*/ 1093541 w 3027807"/>
              <a:gd name="connsiteY156" fmla="*/ 677977 h 3027049"/>
              <a:gd name="connsiteX157" fmla="*/ 698268 w 3027807"/>
              <a:gd name="connsiteY157" fmla="*/ 681662 h 3027049"/>
              <a:gd name="connsiteX158" fmla="*/ 701655 w 3027807"/>
              <a:gd name="connsiteY158" fmla="*/ 701199 h 3027049"/>
              <a:gd name="connsiteX159" fmla="*/ 718640 w 3027807"/>
              <a:gd name="connsiteY159" fmla="*/ 832642 h 3027049"/>
              <a:gd name="connsiteX160" fmla="*/ 732236 w 3027807"/>
              <a:gd name="connsiteY160" fmla="*/ 944545 h 3027049"/>
              <a:gd name="connsiteX161" fmla="*/ 583434 w 3027807"/>
              <a:gd name="connsiteY161" fmla="*/ 1093352 h 3027049"/>
              <a:gd name="connsiteX162" fmla="*/ 434632 w 3027807"/>
              <a:gd name="connsiteY162" fmla="*/ 944545 h 3027049"/>
              <a:gd name="connsiteX163" fmla="*/ 448151 w 3027807"/>
              <a:gd name="connsiteY163" fmla="*/ 832642 h 3027049"/>
              <a:gd name="connsiteX164" fmla="*/ 465085 w 3027807"/>
              <a:gd name="connsiteY164" fmla="*/ 703555 h 3027049"/>
              <a:gd name="connsiteX165" fmla="*/ 445020 w 3027807"/>
              <a:gd name="connsiteY165" fmla="*/ 690561 h 3027049"/>
              <a:gd name="connsiteX166" fmla="*/ 285819 w 3027807"/>
              <a:gd name="connsiteY166" fmla="*/ 760067 h 3027049"/>
              <a:gd name="connsiteX167" fmla="*/ 114548 w 3027807"/>
              <a:gd name="connsiteY167" fmla="*/ 989559 h 3027049"/>
              <a:gd name="connsiteX168" fmla="*/ 98053 w 3027807"/>
              <a:gd name="connsiteY168" fmla="*/ 1038435 h 3027049"/>
              <a:gd name="connsiteX169" fmla="*/ 97903 w 3027807"/>
              <a:gd name="connsiteY169" fmla="*/ 1268608 h 3027049"/>
              <a:gd name="connsiteX170" fmla="*/ 110353 w 3027807"/>
              <a:gd name="connsiteY170" fmla="*/ 1515657 h 3027049"/>
              <a:gd name="connsiteX171" fmla="*/ 198754 w 3027807"/>
              <a:gd name="connsiteY171" fmla="*/ 1559761 h 3027049"/>
              <a:gd name="connsiteX172" fmla="*/ 241322 w 3027807"/>
              <a:gd name="connsiteY172" fmla="*/ 1562162 h 3027049"/>
              <a:gd name="connsiteX173" fmla="*/ 241322 w 3027807"/>
              <a:gd name="connsiteY173" fmla="*/ 1023154 h 3027049"/>
              <a:gd name="connsiteX174" fmla="*/ 339068 w 3027807"/>
              <a:gd name="connsiteY174" fmla="*/ 1023154 h 3027049"/>
              <a:gd name="connsiteX175" fmla="*/ 339068 w 3027807"/>
              <a:gd name="connsiteY175" fmla="*/ 1691749 h 3027049"/>
              <a:gd name="connsiteX176" fmla="*/ 345584 w 3027807"/>
              <a:gd name="connsiteY176" fmla="*/ 2377526 h 3027049"/>
              <a:gd name="connsiteX177" fmla="*/ 397104 w 3027807"/>
              <a:gd name="connsiteY177" fmla="*/ 2432274 h 3027049"/>
              <a:gd name="connsiteX178" fmla="*/ 490347 w 3027807"/>
              <a:gd name="connsiteY178" fmla="*/ 2424215 h 3027049"/>
              <a:gd name="connsiteX179" fmla="*/ 2196254 w 3027807"/>
              <a:gd name="connsiteY179" fmla="*/ 1948058 h 3027049"/>
              <a:gd name="connsiteX180" fmla="*/ 2179445 w 3027807"/>
              <a:gd name="connsiteY180" fmla="*/ 1924990 h 3027049"/>
              <a:gd name="connsiteX181" fmla="*/ 2153492 w 3027807"/>
              <a:gd name="connsiteY181" fmla="*/ 1892339 h 3027049"/>
              <a:gd name="connsiteX182" fmla="*/ 2023035 w 3027807"/>
              <a:gd name="connsiteY182" fmla="*/ 1848744 h 3027049"/>
              <a:gd name="connsiteX183" fmla="*/ 1901744 w 3027807"/>
              <a:gd name="connsiteY183" fmla="*/ 1818518 h 3027049"/>
              <a:gd name="connsiteX184" fmla="*/ 1904007 w 3027807"/>
              <a:gd name="connsiteY184" fmla="*/ 1863406 h 3027049"/>
              <a:gd name="connsiteX185" fmla="*/ 1921440 w 3027807"/>
              <a:gd name="connsiteY185" fmla="*/ 1924620 h 3027049"/>
              <a:gd name="connsiteX186" fmla="*/ 1948824 w 3027807"/>
              <a:gd name="connsiteY186" fmla="*/ 1946003 h 3027049"/>
              <a:gd name="connsiteX187" fmla="*/ 2196254 w 3027807"/>
              <a:gd name="connsiteY187" fmla="*/ 1948058 h 3027049"/>
              <a:gd name="connsiteX188" fmla="*/ 2540984 w 3027807"/>
              <a:gd name="connsiteY188" fmla="*/ 1928500 h 3027049"/>
              <a:gd name="connsiteX189" fmla="*/ 2659111 w 3027807"/>
              <a:gd name="connsiteY189" fmla="*/ 1812283 h 3027049"/>
              <a:gd name="connsiteX190" fmla="*/ 2681923 w 3027807"/>
              <a:gd name="connsiteY190" fmla="*/ 1707450 h 3027049"/>
              <a:gd name="connsiteX191" fmla="*/ 2659111 w 3027807"/>
              <a:gd name="connsiteY191" fmla="*/ 1602618 h 3027049"/>
              <a:gd name="connsiteX192" fmla="*/ 2539460 w 3027807"/>
              <a:gd name="connsiteY192" fmla="*/ 1485454 h 3027049"/>
              <a:gd name="connsiteX193" fmla="*/ 2440613 w 3027807"/>
              <a:gd name="connsiteY193" fmla="*/ 1466127 h 3027049"/>
              <a:gd name="connsiteX194" fmla="*/ 2341766 w 3027807"/>
              <a:gd name="connsiteY194" fmla="*/ 1485454 h 3027049"/>
              <a:gd name="connsiteX195" fmla="*/ 2222115 w 3027807"/>
              <a:gd name="connsiteY195" fmla="*/ 1602618 h 3027049"/>
              <a:gd name="connsiteX196" fmla="*/ 2199302 w 3027807"/>
              <a:gd name="connsiteY196" fmla="*/ 1707127 h 3027049"/>
              <a:gd name="connsiteX197" fmla="*/ 2218651 w 3027807"/>
              <a:gd name="connsiteY197" fmla="*/ 1806303 h 3027049"/>
              <a:gd name="connsiteX198" fmla="*/ 2323732 w 3027807"/>
              <a:gd name="connsiteY198" fmla="*/ 1920348 h 3027049"/>
              <a:gd name="connsiteX199" fmla="*/ 2454351 w 3027807"/>
              <a:gd name="connsiteY199" fmla="*/ 1949120 h 3027049"/>
              <a:gd name="connsiteX200" fmla="*/ 2540984 w 3027807"/>
              <a:gd name="connsiteY200" fmla="*/ 1928500 h 3027049"/>
              <a:gd name="connsiteX201" fmla="*/ 2101563 w 3027807"/>
              <a:gd name="connsiteY201" fmla="*/ 1707520 h 3027049"/>
              <a:gd name="connsiteX202" fmla="*/ 2092396 w 3027807"/>
              <a:gd name="connsiteY202" fmla="*/ 1649238 h 3027049"/>
              <a:gd name="connsiteX203" fmla="*/ 1993134 w 3027807"/>
              <a:gd name="connsiteY203" fmla="*/ 1674361 h 3027049"/>
              <a:gd name="connsiteX204" fmla="*/ 1999229 w 3027807"/>
              <a:gd name="connsiteY204" fmla="*/ 1742803 h 3027049"/>
              <a:gd name="connsiteX205" fmla="*/ 2098515 w 3027807"/>
              <a:gd name="connsiteY205" fmla="*/ 1767972 h 3027049"/>
              <a:gd name="connsiteX206" fmla="*/ 2101563 w 3027807"/>
              <a:gd name="connsiteY206" fmla="*/ 1707520 h 3027049"/>
              <a:gd name="connsiteX207" fmla="*/ 608003 w 3027807"/>
              <a:gd name="connsiteY207" fmla="*/ 928365 h 3027049"/>
              <a:gd name="connsiteX208" fmla="*/ 630033 w 3027807"/>
              <a:gd name="connsiteY208" fmla="*/ 906854 h 3027049"/>
              <a:gd name="connsiteX209" fmla="*/ 616150 w 3027807"/>
              <a:gd name="connsiteY209" fmla="*/ 798541 h 3027049"/>
              <a:gd name="connsiteX210" fmla="*/ 602014 w 3027807"/>
              <a:gd name="connsiteY210" fmla="*/ 685645 h 3027049"/>
              <a:gd name="connsiteX211" fmla="*/ 583434 w 3027807"/>
              <a:gd name="connsiteY211" fmla="*/ 681062 h 3027049"/>
              <a:gd name="connsiteX212" fmla="*/ 564853 w 3027807"/>
              <a:gd name="connsiteY212" fmla="*/ 685645 h 3027049"/>
              <a:gd name="connsiteX213" fmla="*/ 550736 w 3027807"/>
              <a:gd name="connsiteY213" fmla="*/ 798398 h 3027049"/>
              <a:gd name="connsiteX214" fmla="*/ 536871 w 3027807"/>
              <a:gd name="connsiteY214" fmla="*/ 906570 h 3027049"/>
              <a:gd name="connsiteX215" fmla="*/ 558522 w 3027807"/>
              <a:gd name="connsiteY215" fmla="*/ 928222 h 3027049"/>
              <a:gd name="connsiteX216" fmla="*/ 583073 w 3027807"/>
              <a:gd name="connsiteY216" fmla="*/ 949877 h 3027049"/>
              <a:gd name="connsiteX217" fmla="*/ 608003 w 3027807"/>
              <a:gd name="connsiteY217" fmla="*/ 928363 h 3027049"/>
              <a:gd name="connsiteX218" fmla="*/ 683800 w 3027807"/>
              <a:gd name="connsiteY218" fmla="*/ 559973 h 3027049"/>
              <a:gd name="connsiteX219" fmla="*/ 801930 w 3027807"/>
              <a:gd name="connsiteY219" fmla="*/ 443773 h 3027049"/>
              <a:gd name="connsiteX220" fmla="*/ 824745 w 3027807"/>
              <a:gd name="connsiteY220" fmla="*/ 338931 h 3027049"/>
              <a:gd name="connsiteX221" fmla="*/ 801930 w 3027807"/>
              <a:gd name="connsiteY221" fmla="*/ 234089 h 3027049"/>
              <a:gd name="connsiteX222" fmla="*/ 682279 w 3027807"/>
              <a:gd name="connsiteY222" fmla="*/ 116939 h 3027049"/>
              <a:gd name="connsiteX223" fmla="*/ 583434 w 3027807"/>
              <a:gd name="connsiteY223" fmla="*/ 97605 h 3027049"/>
              <a:gd name="connsiteX224" fmla="*/ 484589 w 3027807"/>
              <a:gd name="connsiteY224" fmla="*/ 116939 h 3027049"/>
              <a:gd name="connsiteX225" fmla="*/ 364938 w 3027807"/>
              <a:gd name="connsiteY225" fmla="*/ 234089 h 3027049"/>
              <a:gd name="connsiteX226" fmla="*/ 342123 w 3027807"/>
              <a:gd name="connsiteY226" fmla="*/ 338612 h 3027049"/>
              <a:gd name="connsiteX227" fmla="*/ 361454 w 3027807"/>
              <a:gd name="connsiteY227" fmla="*/ 437778 h 3027049"/>
              <a:gd name="connsiteX228" fmla="*/ 466537 w 3027807"/>
              <a:gd name="connsiteY228" fmla="*/ 551831 h 3027049"/>
              <a:gd name="connsiteX229" fmla="*/ 597172 w 3027807"/>
              <a:gd name="connsiteY229" fmla="*/ 580609 h 3027049"/>
              <a:gd name="connsiteX230" fmla="*/ 683798 w 3027807"/>
              <a:gd name="connsiteY230" fmla="*/ 559973 h 3027049"/>
              <a:gd name="connsiteX231" fmla="*/ 1097915 w 3027807"/>
              <a:gd name="connsiteY231" fmla="*/ 560403 h 3027049"/>
              <a:gd name="connsiteX232" fmla="*/ 1120041 w 3027807"/>
              <a:gd name="connsiteY232" fmla="*/ 495270 h 3027049"/>
              <a:gd name="connsiteX233" fmla="*/ 1122327 w 3027807"/>
              <a:gd name="connsiteY233" fmla="*/ 449993 h 3027049"/>
              <a:gd name="connsiteX234" fmla="*/ 1001032 w 3027807"/>
              <a:gd name="connsiteY234" fmla="*/ 480229 h 3027049"/>
              <a:gd name="connsiteX235" fmla="*/ 870573 w 3027807"/>
              <a:gd name="connsiteY235" fmla="*/ 523833 h 3027049"/>
              <a:gd name="connsiteX236" fmla="*/ 844609 w 3027807"/>
              <a:gd name="connsiteY236" fmla="*/ 556482 h 3027049"/>
              <a:gd name="connsiteX237" fmla="*/ 827809 w 3027807"/>
              <a:gd name="connsiteY237" fmla="*/ 579887 h 3027049"/>
              <a:gd name="connsiteX238" fmla="*/ 952943 w 3027807"/>
              <a:gd name="connsiteY238" fmla="*/ 582136 h 3027049"/>
              <a:gd name="connsiteX239" fmla="*/ 1078078 w 3027807"/>
              <a:gd name="connsiteY239" fmla="*/ 580258 h 3027049"/>
              <a:gd name="connsiteX240" fmla="*/ 1030936 w 3027807"/>
              <a:gd name="connsiteY240" fmla="*/ 372027 h 3027049"/>
              <a:gd name="connsiteX241" fmla="*/ 1121046 w 3027807"/>
              <a:gd name="connsiteY241" fmla="*/ 338933 h 3027049"/>
              <a:gd name="connsiteX242" fmla="*/ 1030936 w 3027807"/>
              <a:gd name="connsiteY242" fmla="*/ 305841 h 3027049"/>
              <a:gd name="connsiteX243" fmla="*/ 931661 w 3027807"/>
              <a:gd name="connsiteY243" fmla="*/ 280719 h 3027049"/>
              <a:gd name="connsiteX244" fmla="*/ 922497 w 3027807"/>
              <a:gd name="connsiteY244" fmla="*/ 338933 h 3027049"/>
              <a:gd name="connsiteX245" fmla="*/ 931661 w 3027807"/>
              <a:gd name="connsiteY245" fmla="*/ 397147 h 3027049"/>
              <a:gd name="connsiteX246" fmla="*/ 1030936 w 3027807"/>
              <a:gd name="connsiteY246" fmla="*/ 372025 h 302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3027807" h="3027049">
                <a:moveTo>
                  <a:pt x="2098492" y="2727422"/>
                </a:moveTo>
                <a:cubicBezTo>
                  <a:pt x="2098492" y="2399439"/>
                  <a:pt x="2098723" y="2401610"/>
                  <a:pt x="2062680" y="2382975"/>
                </a:cubicBezTo>
                <a:cubicBezTo>
                  <a:pt x="2053190" y="2378057"/>
                  <a:pt x="1998929" y="2365565"/>
                  <a:pt x="1942128" y="2355220"/>
                </a:cubicBezTo>
                <a:cubicBezTo>
                  <a:pt x="1885328" y="2344852"/>
                  <a:pt x="1820870" y="2331067"/>
                  <a:pt x="1798889" y="2324532"/>
                </a:cubicBezTo>
                <a:cubicBezTo>
                  <a:pt x="1700462" y="2295368"/>
                  <a:pt x="1611920" y="2207392"/>
                  <a:pt x="1577920" y="2105007"/>
                </a:cubicBezTo>
                <a:cubicBezTo>
                  <a:pt x="1565957" y="2068962"/>
                  <a:pt x="1564350" y="2049057"/>
                  <a:pt x="1562279" y="1910997"/>
                </a:cubicBezTo>
                <a:lnTo>
                  <a:pt x="1559968" y="1757142"/>
                </a:lnTo>
                <a:lnTo>
                  <a:pt x="1209604" y="1753263"/>
                </a:lnTo>
                <a:lnTo>
                  <a:pt x="1169895" y="1734259"/>
                </a:lnTo>
                <a:cubicBezTo>
                  <a:pt x="1111715" y="1706411"/>
                  <a:pt x="1076591" y="1672306"/>
                  <a:pt x="1049375" y="1617234"/>
                </a:cubicBezTo>
                <a:cubicBezTo>
                  <a:pt x="1027558" y="1573084"/>
                  <a:pt x="1026329" y="1567473"/>
                  <a:pt x="1026329" y="1511940"/>
                </a:cubicBezTo>
                <a:cubicBezTo>
                  <a:pt x="1026329" y="1456383"/>
                  <a:pt x="1027558" y="1450772"/>
                  <a:pt x="1049375" y="1406622"/>
                </a:cubicBezTo>
                <a:cubicBezTo>
                  <a:pt x="1076593" y="1351550"/>
                  <a:pt x="1111715" y="1317445"/>
                  <a:pt x="1169895" y="1289620"/>
                </a:cubicBezTo>
                <a:lnTo>
                  <a:pt x="1209604" y="1270617"/>
                </a:lnTo>
                <a:lnTo>
                  <a:pt x="1551725" y="1267545"/>
                </a:lnTo>
                <a:cubicBezTo>
                  <a:pt x="1847666" y="1264913"/>
                  <a:pt x="1896734" y="1263181"/>
                  <a:pt x="1915229" y="1254753"/>
                </a:cubicBezTo>
                <a:cubicBezTo>
                  <a:pt x="1939173" y="1243808"/>
                  <a:pt x="1979257" y="1202245"/>
                  <a:pt x="1990063" y="1177119"/>
                </a:cubicBezTo>
                <a:cubicBezTo>
                  <a:pt x="1994450" y="1166950"/>
                  <a:pt x="1998444" y="1104351"/>
                  <a:pt x="2000499" y="1013675"/>
                </a:cubicBezTo>
                <a:lnTo>
                  <a:pt x="2003801" y="866713"/>
                </a:lnTo>
                <a:lnTo>
                  <a:pt x="2026637" y="820563"/>
                </a:lnTo>
                <a:cubicBezTo>
                  <a:pt x="2054114" y="764979"/>
                  <a:pt x="2089487" y="730333"/>
                  <a:pt x="2146288" y="703432"/>
                </a:cubicBezTo>
                <a:lnTo>
                  <a:pt x="2187087" y="684101"/>
                </a:lnTo>
                <a:lnTo>
                  <a:pt x="2504756" y="681046"/>
                </a:lnTo>
                <a:cubicBezTo>
                  <a:pt x="2863293" y="677598"/>
                  <a:pt x="2846761" y="679833"/>
                  <a:pt x="2891763" y="628703"/>
                </a:cubicBezTo>
                <a:cubicBezTo>
                  <a:pt x="2927367" y="588250"/>
                  <a:pt x="2937411" y="541798"/>
                  <a:pt x="2921895" y="489306"/>
                </a:cubicBezTo>
                <a:cubicBezTo>
                  <a:pt x="2911990" y="455748"/>
                  <a:pt x="2861377" y="405135"/>
                  <a:pt x="2827827" y="395219"/>
                </a:cubicBezTo>
                <a:cubicBezTo>
                  <a:pt x="2808756" y="389583"/>
                  <a:pt x="2641008" y="387789"/>
                  <a:pt x="2133381" y="387789"/>
                </a:cubicBezTo>
                <a:lnTo>
                  <a:pt x="1464072" y="387789"/>
                </a:lnTo>
                <a:lnTo>
                  <a:pt x="1461756" y="542052"/>
                </a:lnTo>
                <a:cubicBezTo>
                  <a:pt x="1459680" y="680528"/>
                  <a:pt x="1458077" y="700426"/>
                  <a:pt x="1446110" y="736468"/>
                </a:cubicBezTo>
                <a:cubicBezTo>
                  <a:pt x="1412108" y="838872"/>
                  <a:pt x="1323568" y="926844"/>
                  <a:pt x="1225141" y="956017"/>
                </a:cubicBezTo>
                <a:cubicBezTo>
                  <a:pt x="1203162" y="962531"/>
                  <a:pt x="1138703" y="976335"/>
                  <a:pt x="1081897" y="986688"/>
                </a:cubicBezTo>
                <a:cubicBezTo>
                  <a:pt x="972902" y="1006556"/>
                  <a:pt x="949090" y="1014788"/>
                  <a:pt x="936411" y="1036983"/>
                </a:cubicBezTo>
                <a:cubicBezTo>
                  <a:pt x="930244" y="1047778"/>
                  <a:pt x="927949" y="1191902"/>
                  <a:pt x="925540" y="1719642"/>
                </a:cubicBezTo>
                <a:lnTo>
                  <a:pt x="922486" y="2388632"/>
                </a:lnTo>
                <a:lnTo>
                  <a:pt x="906480" y="2422761"/>
                </a:lnTo>
                <a:cubicBezTo>
                  <a:pt x="886126" y="2466171"/>
                  <a:pt x="853353" y="2498938"/>
                  <a:pt x="809992" y="2519211"/>
                </a:cubicBezTo>
                <a:cubicBezTo>
                  <a:pt x="743055" y="2550523"/>
                  <a:pt x="654047" y="2537061"/>
                  <a:pt x="603279" y="2487923"/>
                </a:cubicBezTo>
                <a:lnTo>
                  <a:pt x="583424" y="2468711"/>
                </a:lnTo>
                <a:lnTo>
                  <a:pt x="563570" y="2487923"/>
                </a:lnTo>
                <a:cubicBezTo>
                  <a:pt x="494831" y="2554448"/>
                  <a:pt x="370593" y="2551123"/>
                  <a:pt x="300347" y="2480857"/>
                </a:cubicBezTo>
                <a:cubicBezTo>
                  <a:pt x="288037" y="2468550"/>
                  <a:pt x="270406" y="2444143"/>
                  <a:pt x="261166" y="2426617"/>
                </a:cubicBezTo>
                <a:lnTo>
                  <a:pt x="244366" y="2394751"/>
                </a:lnTo>
                <a:lnTo>
                  <a:pt x="240863" y="1660114"/>
                </a:lnTo>
                <a:lnTo>
                  <a:pt x="193621" y="1657366"/>
                </a:lnTo>
                <a:cubicBezTo>
                  <a:pt x="111934" y="1652633"/>
                  <a:pt x="53215" y="1615941"/>
                  <a:pt x="16800" y="1546853"/>
                </a:cubicBezTo>
                <a:lnTo>
                  <a:pt x="0" y="1514988"/>
                </a:lnTo>
                <a:lnTo>
                  <a:pt x="0" y="1276713"/>
                </a:lnTo>
                <a:cubicBezTo>
                  <a:pt x="0" y="1062203"/>
                  <a:pt x="1152" y="1034189"/>
                  <a:pt x="11543" y="995835"/>
                </a:cubicBezTo>
                <a:cubicBezTo>
                  <a:pt x="60283" y="815947"/>
                  <a:pt x="172859" y="689211"/>
                  <a:pt x="347775" y="617306"/>
                </a:cubicBezTo>
                <a:lnTo>
                  <a:pt x="371754" y="607450"/>
                </a:lnTo>
                <a:lnTo>
                  <a:pt x="345351" y="581619"/>
                </a:lnTo>
                <a:cubicBezTo>
                  <a:pt x="308985" y="546045"/>
                  <a:pt x="275294" y="492578"/>
                  <a:pt x="258587" y="443927"/>
                </a:cubicBezTo>
                <a:cubicBezTo>
                  <a:pt x="247430" y="411441"/>
                  <a:pt x="244550" y="389892"/>
                  <a:pt x="244550" y="338905"/>
                </a:cubicBezTo>
                <a:cubicBezTo>
                  <a:pt x="244550" y="287916"/>
                  <a:pt x="247430" y="266365"/>
                  <a:pt x="258587" y="233879"/>
                </a:cubicBezTo>
                <a:cubicBezTo>
                  <a:pt x="293840" y="131219"/>
                  <a:pt x="375762" y="49292"/>
                  <a:pt x="478417" y="14039"/>
                </a:cubicBezTo>
                <a:cubicBezTo>
                  <a:pt x="510902" y="2882"/>
                  <a:pt x="532452" y="0"/>
                  <a:pt x="583436" y="0"/>
                </a:cubicBezTo>
                <a:cubicBezTo>
                  <a:pt x="653656" y="0"/>
                  <a:pt x="700097" y="11885"/>
                  <a:pt x="756025" y="44168"/>
                </a:cubicBezTo>
                <a:cubicBezTo>
                  <a:pt x="788985" y="63195"/>
                  <a:pt x="846698" y="117717"/>
                  <a:pt x="864685" y="146824"/>
                </a:cubicBezTo>
                <a:cubicBezTo>
                  <a:pt x="876228" y="165502"/>
                  <a:pt x="881635" y="167552"/>
                  <a:pt x="991256" y="194823"/>
                </a:cubicBezTo>
                <a:cubicBezTo>
                  <a:pt x="1054238" y="210492"/>
                  <a:pt x="1109894" y="224536"/>
                  <a:pt x="1114932" y="226032"/>
                </a:cubicBezTo>
                <a:cubicBezTo>
                  <a:pt x="1121201" y="227893"/>
                  <a:pt x="1127783" y="219812"/>
                  <a:pt x="1135766" y="200448"/>
                </a:cubicBezTo>
                <a:cubicBezTo>
                  <a:pt x="1151513" y="162246"/>
                  <a:pt x="1177798" y="133680"/>
                  <a:pt x="1215185" y="114138"/>
                </a:cubicBezTo>
                <a:cubicBezTo>
                  <a:pt x="1259494" y="90976"/>
                  <a:pt x="1324651" y="90900"/>
                  <a:pt x="1368464" y="113954"/>
                </a:cubicBezTo>
                <a:cubicBezTo>
                  <a:pt x="1423357" y="142847"/>
                  <a:pt x="1455962" y="191978"/>
                  <a:pt x="1461617" y="254319"/>
                </a:cubicBezTo>
                <a:lnTo>
                  <a:pt x="1464831" y="289763"/>
                </a:lnTo>
                <a:lnTo>
                  <a:pt x="2841427" y="293070"/>
                </a:lnTo>
                <a:lnTo>
                  <a:pt x="2888045" y="316117"/>
                </a:lnTo>
                <a:cubicBezTo>
                  <a:pt x="2943115" y="343336"/>
                  <a:pt x="2977218" y="378462"/>
                  <a:pt x="3005041" y="436642"/>
                </a:cubicBezTo>
                <a:cubicBezTo>
                  <a:pt x="3022197" y="472470"/>
                  <a:pt x="3024044" y="482032"/>
                  <a:pt x="3024044" y="534393"/>
                </a:cubicBezTo>
                <a:cubicBezTo>
                  <a:pt x="3024044" y="586754"/>
                  <a:pt x="3022197" y="596318"/>
                  <a:pt x="3005041" y="632144"/>
                </a:cubicBezTo>
                <a:cubicBezTo>
                  <a:pt x="2977218" y="690312"/>
                  <a:pt x="2943115" y="725449"/>
                  <a:pt x="2888045" y="752669"/>
                </a:cubicBezTo>
                <a:lnTo>
                  <a:pt x="2841451" y="775716"/>
                </a:lnTo>
                <a:lnTo>
                  <a:pt x="2523435" y="778771"/>
                </a:lnTo>
                <a:cubicBezTo>
                  <a:pt x="2169077" y="782175"/>
                  <a:pt x="2183093" y="780471"/>
                  <a:pt x="2140007" y="825408"/>
                </a:cubicBezTo>
                <a:cubicBezTo>
                  <a:pt x="2102994" y="864009"/>
                  <a:pt x="2098515" y="885562"/>
                  <a:pt x="2098423" y="1025444"/>
                </a:cubicBezTo>
                <a:cubicBezTo>
                  <a:pt x="2098377" y="1108470"/>
                  <a:pt x="2095698" y="1158312"/>
                  <a:pt x="2090203" y="1178941"/>
                </a:cubicBezTo>
                <a:cubicBezTo>
                  <a:pt x="2070392" y="1253044"/>
                  <a:pt x="2027630" y="1305461"/>
                  <a:pt x="1959446" y="1339173"/>
                </a:cubicBezTo>
                <a:lnTo>
                  <a:pt x="1912827" y="1362218"/>
                </a:lnTo>
                <a:lnTo>
                  <a:pt x="1570393" y="1365289"/>
                </a:lnTo>
                <a:cubicBezTo>
                  <a:pt x="1188812" y="1368684"/>
                  <a:pt x="1205852" y="1366744"/>
                  <a:pt x="1162536" y="1411910"/>
                </a:cubicBezTo>
                <a:cubicBezTo>
                  <a:pt x="1124876" y="1451188"/>
                  <a:pt x="1112623" y="1503396"/>
                  <a:pt x="1128467" y="1557013"/>
                </a:cubicBezTo>
                <a:cubicBezTo>
                  <a:pt x="1138382" y="1590587"/>
                  <a:pt x="1188990" y="1641203"/>
                  <a:pt x="1222548" y="1651109"/>
                </a:cubicBezTo>
                <a:cubicBezTo>
                  <a:pt x="1239408" y="1656096"/>
                  <a:pt x="1299017" y="1658544"/>
                  <a:pt x="1403447" y="1658544"/>
                </a:cubicBezTo>
                <a:lnTo>
                  <a:pt x="1559201" y="1658544"/>
                </a:lnTo>
                <a:lnTo>
                  <a:pt x="1562422" y="1623030"/>
                </a:lnTo>
                <a:cubicBezTo>
                  <a:pt x="1568144" y="1559923"/>
                  <a:pt x="1601746" y="1510208"/>
                  <a:pt x="1658646" y="1480652"/>
                </a:cubicBezTo>
                <a:cubicBezTo>
                  <a:pt x="1699409" y="1459477"/>
                  <a:pt x="1766247" y="1460378"/>
                  <a:pt x="1808871" y="1482660"/>
                </a:cubicBezTo>
                <a:cubicBezTo>
                  <a:pt x="1846255" y="1502195"/>
                  <a:pt x="1872536" y="1530759"/>
                  <a:pt x="1888283" y="1568951"/>
                </a:cubicBezTo>
                <a:cubicBezTo>
                  <a:pt x="1896272" y="1588324"/>
                  <a:pt x="1902853" y="1596406"/>
                  <a:pt x="1909133" y="1594536"/>
                </a:cubicBezTo>
                <a:cubicBezTo>
                  <a:pt x="1914167" y="1593058"/>
                  <a:pt x="1969674" y="1579042"/>
                  <a:pt x="2032455" y="1563409"/>
                </a:cubicBezTo>
                <a:cubicBezTo>
                  <a:pt x="2145226" y="1535377"/>
                  <a:pt x="2146819" y="1534730"/>
                  <a:pt x="2161527" y="1512771"/>
                </a:cubicBezTo>
                <a:cubicBezTo>
                  <a:pt x="2198586" y="1457422"/>
                  <a:pt x="2267347" y="1405999"/>
                  <a:pt x="2335601" y="1382538"/>
                </a:cubicBezTo>
                <a:cubicBezTo>
                  <a:pt x="2393556" y="1362634"/>
                  <a:pt x="2487693" y="1362634"/>
                  <a:pt x="2545648" y="1382538"/>
                </a:cubicBezTo>
                <a:cubicBezTo>
                  <a:pt x="2650706" y="1418629"/>
                  <a:pt x="2733529" y="1502703"/>
                  <a:pt x="2766155" y="1606358"/>
                </a:cubicBezTo>
                <a:cubicBezTo>
                  <a:pt x="2785181" y="1666880"/>
                  <a:pt x="2784858" y="1755457"/>
                  <a:pt x="2765393" y="1812445"/>
                </a:cubicBezTo>
                <a:cubicBezTo>
                  <a:pt x="2748861" y="1860843"/>
                  <a:pt x="2715427" y="1914229"/>
                  <a:pt x="2678991" y="1950413"/>
                </a:cubicBezTo>
                <a:cubicBezTo>
                  <a:pt x="2664537" y="1964776"/>
                  <a:pt x="2653777" y="1977337"/>
                  <a:pt x="2655093" y="1978353"/>
                </a:cubicBezTo>
                <a:cubicBezTo>
                  <a:pt x="2656409" y="1979346"/>
                  <a:pt x="2671233" y="1985165"/>
                  <a:pt x="2688042" y="1991284"/>
                </a:cubicBezTo>
                <a:cubicBezTo>
                  <a:pt x="2810903" y="2035988"/>
                  <a:pt x="2927621" y="2149133"/>
                  <a:pt x="2981605" y="2275903"/>
                </a:cubicBezTo>
                <a:cubicBezTo>
                  <a:pt x="3023836" y="2375055"/>
                  <a:pt x="3023259" y="2369282"/>
                  <a:pt x="3025637" y="2713937"/>
                </a:cubicBezTo>
                <a:lnTo>
                  <a:pt x="3027808" y="3027050"/>
                </a:lnTo>
                <a:lnTo>
                  <a:pt x="2098515" y="3027050"/>
                </a:lnTo>
                <a:close/>
                <a:moveTo>
                  <a:pt x="2684971" y="2611644"/>
                </a:moveTo>
                <a:lnTo>
                  <a:pt x="2684971" y="2293960"/>
                </a:lnTo>
                <a:lnTo>
                  <a:pt x="2782710" y="2293960"/>
                </a:lnTo>
                <a:lnTo>
                  <a:pt x="2782710" y="2929352"/>
                </a:lnTo>
                <a:lnTo>
                  <a:pt x="2930046" y="2929352"/>
                </a:lnTo>
                <a:lnTo>
                  <a:pt x="2928037" y="2668171"/>
                </a:lnTo>
                <a:lnTo>
                  <a:pt x="2926028" y="2406990"/>
                </a:lnTo>
                <a:lnTo>
                  <a:pt x="2910166" y="2360161"/>
                </a:lnTo>
                <a:cubicBezTo>
                  <a:pt x="2885275" y="2286640"/>
                  <a:pt x="2853319" y="2235193"/>
                  <a:pt x="2798527" y="2180399"/>
                </a:cubicBezTo>
                <a:cubicBezTo>
                  <a:pt x="2743712" y="2125581"/>
                  <a:pt x="2692221" y="2093623"/>
                  <a:pt x="2618796" y="2068800"/>
                </a:cubicBezTo>
                <a:lnTo>
                  <a:pt x="2571947" y="2052960"/>
                </a:lnTo>
                <a:lnTo>
                  <a:pt x="2251207" y="2049750"/>
                </a:lnTo>
                <a:cubicBezTo>
                  <a:pt x="1935409" y="2046587"/>
                  <a:pt x="1930099" y="2046333"/>
                  <a:pt x="1905323" y="2033078"/>
                </a:cubicBezTo>
                <a:cubicBezTo>
                  <a:pt x="1866094" y="2012089"/>
                  <a:pt x="1842704" y="1989598"/>
                  <a:pt x="1824805" y="1955631"/>
                </a:cubicBezTo>
                <a:cubicBezTo>
                  <a:pt x="1808393" y="1924482"/>
                  <a:pt x="1808307" y="1923651"/>
                  <a:pt x="1805250" y="1764069"/>
                </a:cubicBezTo>
                <a:lnTo>
                  <a:pt x="1802181" y="1603795"/>
                </a:lnTo>
                <a:lnTo>
                  <a:pt x="1782209" y="1583845"/>
                </a:lnTo>
                <a:cubicBezTo>
                  <a:pt x="1765023" y="1566665"/>
                  <a:pt x="1758006" y="1563894"/>
                  <a:pt x="1731926" y="1563894"/>
                </a:cubicBezTo>
                <a:cubicBezTo>
                  <a:pt x="1705835" y="1563894"/>
                  <a:pt x="1698834" y="1566665"/>
                  <a:pt x="1681644" y="1583868"/>
                </a:cubicBezTo>
                <a:lnTo>
                  <a:pt x="1661671" y="1603842"/>
                </a:lnTo>
                <a:lnTo>
                  <a:pt x="1661671" y="2058755"/>
                </a:lnTo>
                <a:lnTo>
                  <a:pt x="1681004" y="2099557"/>
                </a:lnTo>
                <a:cubicBezTo>
                  <a:pt x="1705719" y="2151743"/>
                  <a:pt x="1740553" y="2189335"/>
                  <a:pt x="1787180" y="2214203"/>
                </a:cubicBezTo>
                <a:cubicBezTo>
                  <a:pt x="1817243" y="2230229"/>
                  <a:pt x="1848130" y="2238403"/>
                  <a:pt x="1952865" y="2258076"/>
                </a:cubicBezTo>
                <a:cubicBezTo>
                  <a:pt x="2023681" y="2271377"/>
                  <a:pt x="2091958" y="2287517"/>
                  <a:pt x="2104565" y="2293960"/>
                </a:cubicBezTo>
                <a:cubicBezTo>
                  <a:pt x="2137791" y="2310908"/>
                  <a:pt x="2176328" y="2357506"/>
                  <a:pt x="2187087" y="2393735"/>
                </a:cubicBezTo>
                <a:cubicBezTo>
                  <a:pt x="2194545" y="2418858"/>
                  <a:pt x="2196231" y="2470674"/>
                  <a:pt x="2196231" y="2676922"/>
                </a:cubicBezTo>
                <a:lnTo>
                  <a:pt x="2196231" y="2929352"/>
                </a:lnTo>
                <a:lnTo>
                  <a:pt x="2684971" y="2929352"/>
                </a:lnTo>
                <a:close/>
                <a:moveTo>
                  <a:pt x="490338" y="2424261"/>
                </a:moveTo>
                <a:cubicBezTo>
                  <a:pt x="499122" y="2417704"/>
                  <a:pt x="511973" y="2404750"/>
                  <a:pt x="518903" y="2395467"/>
                </a:cubicBezTo>
                <a:cubicBezTo>
                  <a:pt x="531327" y="2378819"/>
                  <a:pt x="531521" y="2372353"/>
                  <a:pt x="533140" y="1920834"/>
                </a:cubicBezTo>
                <a:lnTo>
                  <a:pt x="534781" y="1463079"/>
                </a:lnTo>
                <a:lnTo>
                  <a:pt x="632072" y="1463079"/>
                </a:lnTo>
                <a:lnTo>
                  <a:pt x="633712" y="1920834"/>
                </a:lnTo>
                <a:cubicBezTo>
                  <a:pt x="635330" y="2372353"/>
                  <a:pt x="635526" y="2378819"/>
                  <a:pt x="647949" y="2395467"/>
                </a:cubicBezTo>
                <a:cubicBezTo>
                  <a:pt x="671886" y="2427517"/>
                  <a:pt x="691411" y="2437539"/>
                  <a:pt x="730044" y="2437539"/>
                </a:cubicBezTo>
                <a:cubicBezTo>
                  <a:pt x="768678" y="2437539"/>
                  <a:pt x="788203" y="2427517"/>
                  <a:pt x="812140" y="2395467"/>
                </a:cubicBezTo>
                <a:cubicBezTo>
                  <a:pt x="824638" y="2378726"/>
                  <a:pt x="824761" y="2373415"/>
                  <a:pt x="827790" y="1705465"/>
                </a:cubicBezTo>
                <a:cubicBezTo>
                  <a:pt x="831196" y="955354"/>
                  <a:pt x="827545" y="1013866"/>
                  <a:pt x="874127" y="962304"/>
                </a:cubicBezTo>
                <a:cubicBezTo>
                  <a:pt x="886824" y="948249"/>
                  <a:pt x="907378" y="931564"/>
                  <a:pt x="919805" y="925223"/>
                </a:cubicBezTo>
                <a:cubicBezTo>
                  <a:pt x="932230" y="918884"/>
                  <a:pt x="1000330" y="902815"/>
                  <a:pt x="1071140" y="889517"/>
                </a:cubicBezTo>
                <a:cubicBezTo>
                  <a:pt x="1175884" y="869846"/>
                  <a:pt x="1206771" y="861667"/>
                  <a:pt x="1236834" y="845642"/>
                </a:cubicBezTo>
                <a:cubicBezTo>
                  <a:pt x="1283461" y="820789"/>
                  <a:pt x="1318295" y="783181"/>
                  <a:pt x="1343010" y="731007"/>
                </a:cubicBezTo>
                <a:lnTo>
                  <a:pt x="1362343" y="690199"/>
                </a:lnTo>
                <a:lnTo>
                  <a:pt x="1362343" y="235285"/>
                </a:lnTo>
                <a:lnTo>
                  <a:pt x="1342370" y="215307"/>
                </a:lnTo>
                <a:cubicBezTo>
                  <a:pt x="1325180" y="198111"/>
                  <a:pt x="1318177" y="195328"/>
                  <a:pt x="1292088" y="195328"/>
                </a:cubicBezTo>
                <a:cubicBezTo>
                  <a:pt x="1266008" y="195328"/>
                  <a:pt x="1258989" y="198113"/>
                  <a:pt x="1241805" y="215288"/>
                </a:cubicBezTo>
                <a:lnTo>
                  <a:pt x="1221835" y="235246"/>
                </a:lnTo>
                <a:lnTo>
                  <a:pt x="1218775" y="395515"/>
                </a:lnTo>
                <a:cubicBezTo>
                  <a:pt x="1215848" y="549030"/>
                  <a:pt x="1215111" y="556943"/>
                  <a:pt x="1201303" y="583279"/>
                </a:cubicBezTo>
                <a:cubicBezTo>
                  <a:pt x="1181636" y="620792"/>
                  <a:pt x="1160241" y="642532"/>
                  <a:pt x="1124087" y="661744"/>
                </a:cubicBezTo>
                <a:lnTo>
                  <a:pt x="1093541" y="677977"/>
                </a:lnTo>
                <a:lnTo>
                  <a:pt x="698268" y="681662"/>
                </a:lnTo>
                <a:lnTo>
                  <a:pt x="701655" y="701199"/>
                </a:lnTo>
                <a:cubicBezTo>
                  <a:pt x="703519" y="711946"/>
                  <a:pt x="711162" y="771095"/>
                  <a:pt x="718640" y="832642"/>
                </a:cubicBezTo>
                <a:lnTo>
                  <a:pt x="732236" y="944545"/>
                </a:lnTo>
                <a:lnTo>
                  <a:pt x="583434" y="1093352"/>
                </a:lnTo>
                <a:lnTo>
                  <a:pt x="434632" y="944545"/>
                </a:lnTo>
                <a:lnTo>
                  <a:pt x="448151" y="832642"/>
                </a:lnTo>
                <a:cubicBezTo>
                  <a:pt x="455588" y="771095"/>
                  <a:pt x="463208" y="713006"/>
                  <a:pt x="465085" y="703555"/>
                </a:cubicBezTo>
                <a:cubicBezTo>
                  <a:pt x="468456" y="686587"/>
                  <a:pt x="468202" y="686423"/>
                  <a:pt x="445020" y="690561"/>
                </a:cubicBezTo>
                <a:cubicBezTo>
                  <a:pt x="401152" y="698389"/>
                  <a:pt x="328433" y="730137"/>
                  <a:pt x="285819" y="760067"/>
                </a:cubicBezTo>
                <a:cubicBezTo>
                  <a:pt x="205970" y="816146"/>
                  <a:pt x="145918" y="896611"/>
                  <a:pt x="114548" y="989559"/>
                </a:cubicBezTo>
                <a:lnTo>
                  <a:pt x="98053" y="1038435"/>
                </a:lnTo>
                <a:lnTo>
                  <a:pt x="97903" y="1268608"/>
                </a:lnTo>
                <a:cubicBezTo>
                  <a:pt x="97762" y="1491666"/>
                  <a:pt x="98145" y="1499286"/>
                  <a:pt x="110353" y="1515657"/>
                </a:cubicBezTo>
                <a:cubicBezTo>
                  <a:pt x="134269" y="1547708"/>
                  <a:pt x="153256" y="1557198"/>
                  <a:pt x="198754" y="1559761"/>
                </a:cubicBezTo>
                <a:lnTo>
                  <a:pt x="241322" y="1562162"/>
                </a:lnTo>
                <a:lnTo>
                  <a:pt x="241322" y="1023154"/>
                </a:lnTo>
                <a:lnTo>
                  <a:pt x="339068" y="1023154"/>
                </a:lnTo>
                <a:lnTo>
                  <a:pt x="339068" y="1691749"/>
                </a:lnTo>
                <a:cubicBezTo>
                  <a:pt x="339068" y="2150496"/>
                  <a:pt x="341112" y="2365726"/>
                  <a:pt x="345584" y="2377526"/>
                </a:cubicBezTo>
                <a:cubicBezTo>
                  <a:pt x="354185" y="2400224"/>
                  <a:pt x="374476" y="2421791"/>
                  <a:pt x="397104" y="2432274"/>
                </a:cubicBezTo>
                <a:cubicBezTo>
                  <a:pt x="421450" y="2443542"/>
                  <a:pt x="470102" y="2439340"/>
                  <a:pt x="490347" y="2424215"/>
                </a:cubicBezTo>
                <a:close/>
                <a:moveTo>
                  <a:pt x="2196254" y="1948058"/>
                </a:moveTo>
                <a:cubicBezTo>
                  <a:pt x="2196254" y="1945979"/>
                  <a:pt x="2188704" y="1935612"/>
                  <a:pt x="2179445" y="1924990"/>
                </a:cubicBezTo>
                <a:cubicBezTo>
                  <a:pt x="2170209" y="1914391"/>
                  <a:pt x="2158525" y="1899705"/>
                  <a:pt x="2153492" y="1892339"/>
                </a:cubicBezTo>
                <a:cubicBezTo>
                  <a:pt x="2146103" y="1881579"/>
                  <a:pt x="2120797" y="1873128"/>
                  <a:pt x="2023035" y="1848744"/>
                </a:cubicBezTo>
                <a:lnTo>
                  <a:pt x="1901744" y="1818518"/>
                </a:lnTo>
                <a:lnTo>
                  <a:pt x="1904007" y="1863406"/>
                </a:lnTo>
                <a:cubicBezTo>
                  <a:pt x="1905901" y="1900929"/>
                  <a:pt x="1908764" y="1910974"/>
                  <a:pt x="1921440" y="1924620"/>
                </a:cubicBezTo>
                <a:cubicBezTo>
                  <a:pt x="1929798" y="1933603"/>
                  <a:pt x="1942105" y="1943209"/>
                  <a:pt x="1948824" y="1946003"/>
                </a:cubicBezTo>
                <a:cubicBezTo>
                  <a:pt x="1962886" y="1951822"/>
                  <a:pt x="2196254" y="1953761"/>
                  <a:pt x="2196254" y="1948058"/>
                </a:cubicBezTo>
                <a:close/>
                <a:moveTo>
                  <a:pt x="2540984" y="1928500"/>
                </a:moveTo>
                <a:cubicBezTo>
                  <a:pt x="2596122" y="1902684"/>
                  <a:pt x="2631772" y="1867609"/>
                  <a:pt x="2659111" y="1812283"/>
                </a:cubicBezTo>
                <a:cubicBezTo>
                  <a:pt x="2680676" y="1768664"/>
                  <a:pt x="2681923" y="1762892"/>
                  <a:pt x="2681923" y="1707450"/>
                </a:cubicBezTo>
                <a:cubicBezTo>
                  <a:pt x="2681923" y="1652009"/>
                  <a:pt x="2680676" y="1646236"/>
                  <a:pt x="2659111" y="1602618"/>
                </a:cubicBezTo>
                <a:cubicBezTo>
                  <a:pt x="2631634" y="1546992"/>
                  <a:pt x="2596261" y="1512379"/>
                  <a:pt x="2539460" y="1485454"/>
                </a:cubicBezTo>
                <a:cubicBezTo>
                  <a:pt x="2502562" y="1467975"/>
                  <a:pt x="2493096" y="1466127"/>
                  <a:pt x="2440613" y="1466127"/>
                </a:cubicBezTo>
                <a:cubicBezTo>
                  <a:pt x="2388130" y="1466127"/>
                  <a:pt x="2378686" y="1467975"/>
                  <a:pt x="2341766" y="1485454"/>
                </a:cubicBezTo>
                <a:cubicBezTo>
                  <a:pt x="2284988" y="1512379"/>
                  <a:pt x="2249614" y="1546992"/>
                  <a:pt x="2222115" y="1602618"/>
                </a:cubicBezTo>
                <a:cubicBezTo>
                  <a:pt x="2200595" y="1646190"/>
                  <a:pt x="2199302" y="1652055"/>
                  <a:pt x="2199302" y="1707127"/>
                </a:cubicBezTo>
                <a:cubicBezTo>
                  <a:pt x="2199302" y="1759982"/>
                  <a:pt x="2201126" y="1769334"/>
                  <a:pt x="2218651" y="1806303"/>
                </a:cubicBezTo>
                <a:cubicBezTo>
                  <a:pt x="2243195" y="1858119"/>
                  <a:pt x="2278130" y="1896057"/>
                  <a:pt x="2323732" y="1920348"/>
                </a:cubicBezTo>
                <a:cubicBezTo>
                  <a:pt x="2371851" y="1946003"/>
                  <a:pt x="2398174" y="1951798"/>
                  <a:pt x="2454351" y="1949120"/>
                </a:cubicBezTo>
                <a:cubicBezTo>
                  <a:pt x="2491017" y="1947388"/>
                  <a:pt x="2510551" y="1942724"/>
                  <a:pt x="2540984" y="1928500"/>
                </a:cubicBezTo>
                <a:close/>
                <a:moveTo>
                  <a:pt x="2101563" y="1707520"/>
                </a:moveTo>
                <a:cubicBezTo>
                  <a:pt x="2101563" y="1656142"/>
                  <a:pt x="2100108" y="1646929"/>
                  <a:pt x="2092396" y="1649238"/>
                </a:cubicBezTo>
                <a:cubicBezTo>
                  <a:pt x="2087363" y="1650739"/>
                  <a:pt x="2042684" y="1662054"/>
                  <a:pt x="1993134" y="1674361"/>
                </a:cubicBezTo>
                <a:cubicBezTo>
                  <a:pt x="1870273" y="1704887"/>
                  <a:pt x="1870735" y="1709967"/>
                  <a:pt x="1999229" y="1742803"/>
                </a:cubicBezTo>
                <a:cubicBezTo>
                  <a:pt x="2052151" y="1756334"/>
                  <a:pt x="2096830" y="1767649"/>
                  <a:pt x="2098515" y="1767972"/>
                </a:cubicBezTo>
                <a:cubicBezTo>
                  <a:pt x="2100201" y="1768295"/>
                  <a:pt x="2101563" y="1741094"/>
                  <a:pt x="2101563" y="1707520"/>
                </a:cubicBezTo>
                <a:close/>
                <a:moveTo>
                  <a:pt x="608003" y="928365"/>
                </a:moveTo>
                <a:lnTo>
                  <a:pt x="630033" y="906854"/>
                </a:lnTo>
                <a:lnTo>
                  <a:pt x="616150" y="798541"/>
                </a:lnTo>
                <a:cubicBezTo>
                  <a:pt x="608514" y="738969"/>
                  <a:pt x="602153" y="688167"/>
                  <a:pt x="602014" y="685645"/>
                </a:cubicBezTo>
                <a:cubicBezTo>
                  <a:pt x="601875" y="683124"/>
                  <a:pt x="593515" y="681062"/>
                  <a:pt x="583434" y="681062"/>
                </a:cubicBezTo>
                <a:cubicBezTo>
                  <a:pt x="573355" y="681062"/>
                  <a:pt x="564992" y="683124"/>
                  <a:pt x="564853" y="685645"/>
                </a:cubicBezTo>
                <a:cubicBezTo>
                  <a:pt x="564715" y="688165"/>
                  <a:pt x="558363" y="738905"/>
                  <a:pt x="550736" y="798398"/>
                </a:cubicBezTo>
                <a:lnTo>
                  <a:pt x="536871" y="906570"/>
                </a:lnTo>
                <a:lnTo>
                  <a:pt x="558522" y="928222"/>
                </a:lnTo>
                <a:cubicBezTo>
                  <a:pt x="570432" y="940133"/>
                  <a:pt x="581480" y="949877"/>
                  <a:pt x="583073" y="949877"/>
                </a:cubicBezTo>
                <a:cubicBezTo>
                  <a:pt x="584669" y="949877"/>
                  <a:pt x="595886" y="940197"/>
                  <a:pt x="608003" y="928363"/>
                </a:cubicBezTo>
                <a:close/>
                <a:moveTo>
                  <a:pt x="683800" y="559973"/>
                </a:moveTo>
                <a:cubicBezTo>
                  <a:pt x="738927" y="534176"/>
                  <a:pt x="774589" y="499094"/>
                  <a:pt x="801930" y="443773"/>
                </a:cubicBezTo>
                <a:cubicBezTo>
                  <a:pt x="823488" y="400147"/>
                  <a:pt x="824745" y="394377"/>
                  <a:pt x="824745" y="338931"/>
                </a:cubicBezTo>
                <a:cubicBezTo>
                  <a:pt x="824745" y="283487"/>
                  <a:pt x="823488" y="277717"/>
                  <a:pt x="801930" y="234089"/>
                </a:cubicBezTo>
                <a:cubicBezTo>
                  <a:pt x="774450" y="178483"/>
                  <a:pt x="739075" y="143849"/>
                  <a:pt x="682279" y="116939"/>
                </a:cubicBezTo>
                <a:cubicBezTo>
                  <a:pt x="645374" y="99455"/>
                  <a:pt x="635921" y="97605"/>
                  <a:pt x="583434" y="97605"/>
                </a:cubicBezTo>
                <a:cubicBezTo>
                  <a:pt x="530946" y="97605"/>
                  <a:pt x="521493" y="99455"/>
                  <a:pt x="484589" y="116939"/>
                </a:cubicBezTo>
                <a:cubicBezTo>
                  <a:pt x="427793" y="143849"/>
                  <a:pt x="392417" y="178483"/>
                  <a:pt x="364938" y="234089"/>
                </a:cubicBezTo>
                <a:cubicBezTo>
                  <a:pt x="343404" y="277661"/>
                  <a:pt x="342123" y="283536"/>
                  <a:pt x="342123" y="338612"/>
                </a:cubicBezTo>
                <a:cubicBezTo>
                  <a:pt x="342123" y="391458"/>
                  <a:pt x="343947" y="400824"/>
                  <a:pt x="361454" y="437778"/>
                </a:cubicBezTo>
                <a:cubicBezTo>
                  <a:pt x="386003" y="489599"/>
                  <a:pt x="420954" y="527533"/>
                  <a:pt x="466537" y="551831"/>
                </a:cubicBezTo>
                <a:cubicBezTo>
                  <a:pt x="514659" y="577481"/>
                  <a:pt x="540992" y="583281"/>
                  <a:pt x="597172" y="580609"/>
                </a:cubicBezTo>
                <a:cubicBezTo>
                  <a:pt x="633841" y="578864"/>
                  <a:pt x="653370" y="574213"/>
                  <a:pt x="683798" y="559973"/>
                </a:cubicBezTo>
                <a:close/>
                <a:moveTo>
                  <a:pt x="1097915" y="560403"/>
                </a:moveTo>
                <a:cubicBezTo>
                  <a:pt x="1116100" y="542202"/>
                  <a:pt x="1117945" y="536774"/>
                  <a:pt x="1120041" y="495270"/>
                </a:cubicBezTo>
                <a:lnTo>
                  <a:pt x="1122327" y="449993"/>
                </a:lnTo>
                <a:lnTo>
                  <a:pt x="1001032" y="480229"/>
                </a:lnTo>
                <a:cubicBezTo>
                  <a:pt x="903266" y="504599"/>
                  <a:pt x="877959" y="513057"/>
                  <a:pt x="870573" y="523833"/>
                </a:cubicBezTo>
                <a:cubicBezTo>
                  <a:pt x="865533" y="531186"/>
                  <a:pt x="853849" y="545878"/>
                  <a:pt x="844609" y="556482"/>
                </a:cubicBezTo>
                <a:cubicBezTo>
                  <a:pt x="835368" y="567085"/>
                  <a:pt x="827809" y="577617"/>
                  <a:pt x="827809" y="579887"/>
                </a:cubicBezTo>
                <a:cubicBezTo>
                  <a:pt x="827809" y="582157"/>
                  <a:pt x="884120" y="583168"/>
                  <a:pt x="952943" y="582136"/>
                </a:cubicBezTo>
                <a:lnTo>
                  <a:pt x="1078078" y="580258"/>
                </a:lnTo>
                <a:close/>
                <a:moveTo>
                  <a:pt x="1030936" y="372027"/>
                </a:moveTo>
                <a:cubicBezTo>
                  <a:pt x="1104200" y="353824"/>
                  <a:pt x="1121046" y="347636"/>
                  <a:pt x="1121046" y="338933"/>
                </a:cubicBezTo>
                <a:cubicBezTo>
                  <a:pt x="1121046" y="330230"/>
                  <a:pt x="1104200" y="324044"/>
                  <a:pt x="1030936" y="305841"/>
                </a:cubicBezTo>
                <a:cubicBezTo>
                  <a:pt x="981376" y="293527"/>
                  <a:pt x="936702" y="282222"/>
                  <a:pt x="931661" y="280719"/>
                </a:cubicBezTo>
                <a:cubicBezTo>
                  <a:pt x="923945" y="278416"/>
                  <a:pt x="922497" y="287616"/>
                  <a:pt x="922497" y="338933"/>
                </a:cubicBezTo>
                <a:cubicBezTo>
                  <a:pt x="922497" y="390250"/>
                  <a:pt x="923945" y="399450"/>
                  <a:pt x="931661" y="397147"/>
                </a:cubicBezTo>
                <a:cubicBezTo>
                  <a:pt x="936702" y="395644"/>
                  <a:pt x="981374" y="384339"/>
                  <a:pt x="1030936" y="372025"/>
                </a:cubicBezTo>
                <a:close/>
              </a:path>
            </a:pathLst>
          </a:custGeom>
          <a:solidFill>
            <a:srgbClr val="03556D"/>
          </a:solidFill>
          <a:ln w="6108" cap="flat">
            <a:noFill/>
            <a:prstDash val="solid"/>
            <a:miter/>
          </a:ln>
        </p:spPr>
        <p:txBody>
          <a:bodyPr rtlCol="0" anchor="ctr"/>
          <a:lstStyle/>
          <a:p>
            <a:endParaRPr lang="en-US" dirty="0"/>
          </a:p>
        </p:txBody>
      </p:sp>
      <p:grpSp>
        <p:nvGrpSpPr>
          <p:cNvPr id="4" name="Group 3">
            <a:extLst>
              <a:ext uri="{FF2B5EF4-FFF2-40B4-BE49-F238E27FC236}">
                <a16:creationId xmlns:a16="http://schemas.microsoft.com/office/drawing/2014/main" id="{E19012BB-9D6F-4EDA-A948-937D81886B92}"/>
              </a:ext>
            </a:extLst>
          </p:cNvPr>
          <p:cNvGrpSpPr/>
          <p:nvPr/>
        </p:nvGrpSpPr>
        <p:grpSpPr>
          <a:xfrm>
            <a:off x="5917011" y="1209478"/>
            <a:ext cx="640080" cy="640080"/>
            <a:chOff x="5917011" y="1211561"/>
            <a:chExt cx="640080" cy="640080"/>
          </a:xfrm>
        </p:grpSpPr>
        <p:sp>
          <p:nvSpPr>
            <p:cNvPr id="76" name="Oval 75">
              <a:extLst>
                <a:ext uri="{FF2B5EF4-FFF2-40B4-BE49-F238E27FC236}">
                  <a16:creationId xmlns:a16="http://schemas.microsoft.com/office/drawing/2014/main" id="{2067729D-CE4E-4F54-BC3B-BABDB9E57914}"/>
                </a:ext>
              </a:extLst>
            </p:cNvPr>
            <p:cNvSpPr/>
            <p:nvPr/>
          </p:nvSpPr>
          <p:spPr bwMode="auto">
            <a:xfrm>
              <a:off x="5917011" y="1211561"/>
              <a:ext cx="640080" cy="640080"/>
            </a:xfrm>
            <a:prstGeom prst="ellipse">
              <a:avLst/>
            </a:prstGeom>
            <a:solidFill>
              <a:srgbClr val="F2F2F2"/>
            </a:solidFill>
            <a:ln w="3175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01" name="Graphic 11">
              <a:extLst>
                <a:ext uri="{FF2B5EF4-FFF2-40B4-BE49-F238E27FC236}">
                  <a16:creationId xmlns:a16="http://schemas.microsoft.com/office/drawing/2014/main" id="{BC0B2D61-C0E4-4EE7-9C6D-BA72CE6A9774}"/>
                </a:ext>
              </a:extLst>
            </p:cNvPr>
            <p:cNvSpPr/>
            <p:nvPr/>
          </p:nvSpPr>
          <p:spPr>
            <a:xfrm>
              <a:off x="6054171" y="1348721"/>
              <a:ext cx="365760" cy="365760"/>
            </a:xfrm>
            <a:custGeom>
              <a:avLst/>
              <a:gdLst>
                <a:gd name="connsiteX0" fmla="*/ 412334 w 3124190"/>
                <a:gd name="connsiteY0" fmla="*/ 3121590 h 3126924"/>
                <a:gd name="connsiteX1" fmla="*/ 311882 w 3124190"/>
                <a:gd name="connsiteY1" fmla="*/ 3033960 h 3126924"/>
                <a:gd name="connsiteX2" fmla="*/ 340971 w 3124190"/>
                <a:gd name="connsiteY2" fmla="*/ 2871262 h 3126924"/>
                <a:gd name="connsiteX3" fmla="*/ 557183 w 3124190"/>
                <a:gd name="connsiteY3" fmla="*/ 2870292 h 3126924"/>
                <a:gd name="connsiteX4" fmla="*/ 462776 w 3124190"/>
                <a:gd name="connsiteY4" fmla="*/ 3124315 h 3126924"/>
                <a:gd name="connsiteX5" fmla="*/ 412334 w 3124190"/>
                <a:gd name="connsiteY5" fmla="*/ 3121613 h 3126924"/>
                <a:gd name="connsiteX6" fmla="*/ 495464 w 3124190"/>
                <a:gd name="connsiteY6" fmla="*/ 2995052 h 3126924"/>
                <a:gd name="connsiteX7" fmla="*/ 407261 w 3124190"/>
                <a:gd name="connsiteY7" fmla="*/ 2953950 h 3126924"/>
                <a:gd name="connsiteX8" fmla="*/ 412493 w 3124190"/>
                <a:gd name="connsiteY8" fmla="*/ 3006574 h 3126924"/>
                <a:gd name="connsiteX9" fmla="*/ 495462 w 3124190"/>
                <a:gd name="connsiteY9" fmla="*/ 2995052 h 3126924"/>
                <a:gd name="connsiteX10" fmla="*/ 908747 w 3124190"/>
                <a:gd name="connsiteY10" fmla="*/ 2997107 h 3126924"/>
                <a:gd name="connsiteX11" fmla="*/ 960237 w 3124190"/>
                <a:gd name="connsiteY11" fmla="*/ 2715052 h 3126924"/>
                <a:gd name="connsiteX12" fmla="*/ 1199701 w 3124190"/>
                <a:gd name="connsiteY12" fmla="*/ 2430202 h 3126924"/>
                <a:gd name="connsiteX13" fmla="*/ 1249249 w 3124190"/>
                <a:gd name="connsiteY13" fmla="*/ 2397921 h 3126924"/>
                <a:gd name="connsiteX14" fmla="*/ 1207602 w 3124190"/>
                <a:gd name="connsiteY14" fmla="*/ 2381203 h 3126924"/>
                <a:gd name="connsiteX15" fmla="*/ 885755 w 3124190"/>
                <a:gd name="connsiteY15" fmla="*/ 2045346 h 3126924"/>
                <a:gd name="connsiteX16" fmla="*/ 864237 w 3124190"/>
                <a:gd name="connsiteY16" fmla="*/ 1961226 h 3126924"/>
                <a:gd name="connsiteX17" fmla="*/ 856384 w 3124190"/>
                <a:gd name="connsiteY17" fmla="*/ 1917261 h 3126924"/>
                <a:gd name="connsiteX18" fmla="*/ 824597 w 3124190"/>
                <a:gd name="connsiteY18" fmla="*/ 1917261 h 3126924"/>
                <a:gd name="connsiteX19" fmla="*/ 575389 w 3124190"/>
                <a:gd name="connsiteY19" fmla="*/ 1765900 h 3126924"/>
                <a:gd name="connsiteX20" fmla="*/ 555932 w 3124190"/>
                <a:gd name="connsiteY20" fmla="*/ 1663330 h 3126924"/>
                <a:gd name="connsiteX21" fmla="*/ 578010 w 3124190"/>
                <a:gd name="connsiteY21" fmla="*/ 1557366 h 3126924"/>
                <a:gd name="connsiteX22" fmla="*/ 600088 w 3124190"/>
                <a:gd name="connsiteY22" fmla="*/ 1512893 h 3126924"/>
                <a:gd name="connsiteX23" fmla="*/ 585625 w 3124190"/>
                <a:gd name="connsiteY23" fmla="*/ 1467358 h 3126924"/>
                <a:gd name="connsiteX24" fmla="*/ 552877 w 3124190"/>
                <a:gd name="connsiteY24" fmla="*/ 1262610 h 3126924"/>
                <a:gd name="connsiteX25" fmla="*/ 552877 w 3124190"/>
                <a:gd name="connsiteY25" fmla="*/ 1208300 h 3126924"/>
                <a:gd name="connsiteX26" fmla="*/ 329892 w 3124190"/>
                <a:gd name="connsiteY26" fmla="*/ 1211626 h 3126924"/>
                <a:gd name="connsiteX27" fmla="*/ 293237 w 3124190"/>
                <a:gd name="connsiteY27" fmla="*/ 1282953 h 3126924"/>
                <a:gd name="connsiteX28" fmla="*/ 196822 w 3124190"/>
                <a:gd name="connsiteY28" fmla="*/ 1398131 h 3126924"/>
                <a:gd name="connsiteX29" fmla="*/ 18488 w 3124190"/>
                <a:gd name="connsiteY29" fmla="*/ 1340242 h 3126924"/>
                <a:gd name="connsiteX30" fmla="*/ 0 w 3124190"/>
                <a:gd name="connsiteY30" fmla="*/ 1310339 h 3126924"/>
                <a:gd name="connsiteX31" fmla="*/ 0 w 3124190"/>
                <a:gd name="connsiteY31" fmla="*/ 105825 h 3126924"/>
                <a:gd name="connsiteX32" fmla="*/ 17209 w 3124190"/>
                <a:gd name="connsiteY32" fmla="*/ 76546 h 3126924"/>
                <a:gd name="connsiteX33" fmla="*/ 107360 w 3124190"/>
                <a:gd name="connsiteY33" fmla="*/ 4895 h 3126924"/>
                <a:gd name="connsiteX34" fmla="*/ 816608 w 3124190"/>
                <a:gd name="connsiteY34" fmla="*/ 323 h 3126924"/>
                <a:gd name="connsiteX35" fmla="*/ 1502858 w 3124190"/>
                <a:gd name="connsiteY35" fmla="*/ 1962 h 3126924"/>
                <a:gd name="connsiteX36" fmla="*/ 1527293 w 3124190"/>
                <a:gd name="connsiteY36" fmla="*/ 15147 h 3126924"/>
                <a:gd name="connsiteX37" fmla="*/ 1597055 w 3124190"/>
                <a:gd name="connsiteY37" fmla="*/ 90539 h 3126924"/>
                <a:gd name="connsiteX38" fmla="*/ 1609632 w 3124190"/>
                <a:gd name="connsiteY38" fmla="*/ 336434 h 3126924"/>
                <a:gd name="connsiteX39" fmla="*/ 1609765 w 3124190"/>
                <a:gd name="connsiteY39" fmla="*/ 554851 h 3126924"/>
                <a:gd name="connsiteX40" fmla="*/ 1767803 w 3124190"/>
                <a:gd name="connsiteY40" fmla="*/ 554851 h 3126924"/>
                <a:gd name="connsiteX41" fmla="*/ 1980097 w 3124190"/>
                <a:gd name="connsiteY41" fmla="*/ 564110 h 3126924"/>
                <a:gd name="connsiteX42" fmla="*/ 2560257 w 3124190"/>
                <a:gd name="connsiteY42" fmla="*/ 1148703 h 3126924"/>
                <a:gd name="connsiteX43" fmla="*/ 2529848 w 3124190"/>
                <a:gd name="connsiteY43" fmla="*/ 1488070 h 3126924"/>
                <a:gd name="connsiteX44" fmla="*/ 2520589 w 3124190"/>
                <a:gd name="connsiteY44" fmla="*/ 1514024 h 3126924"/>
                <a:gd name="connsiteX45" fmla="*/ 2763146 w 3124190"/>
                <a:gd name="connsiteY45" fmla="*/ 1514163 h 3126924"/>
                <a:gd name="connsiteX46" fmla="*/ 3033204 w 3124190"/>
                <a:gd name="connsiteY46" fmla="*/ 1526747 h 3126924"/>
                <a:gd name="connsiteX47" fmla="*/ 3108592 w 3124190"/>
                <a:gd name="connsiteY47" fmla="*/ 1596505 h 3126924"/>
                <a:gd name="connsiteX48" fmla="*/ 3123462 w 3124190"/>
                <a:gd name="connsiteY48" fmla="*/ 2106167 h 3126924"/>
                <a:gd name="connsiteX49" fmla="*/ 3078760 w 3124190"/>
                <a:gd name="connsiteY49" fmla="*/ 2678453 h 3126924"/>
                <a:gd name="connsiteX50" fmla="*/ 2841167 w 3124190"/>
                <a:gd name="connsiteY50" fmla="*/ 2723919 h 3126924"/>
                <a:gd name="connsiteX51" fmla="*/ 2694131 w 3124190"/>
                <a:gd name="connsiteY51" fmla="*/ 2724127 h 3126924"/>
                <a:gd name="connsiteX52" fmla="*/ 2648321 w 3124190"/>
                <a:gd name="connsiteY52" fmla="*/ 2786495 h 3126924"/>
                <a:gd name="connsiteX53" fmla="*/ 2581522 w 3124190"/>
                <a:gd name="connsiteY53" fmla="*/ 2872255 h 3126924"/>
                <a:gd name="connsiteX54" fmla="*/ 2339149 w 3124190"/>
                <a:gd name="connsiteY54" fmla="*/ 2848378 h 3126924"/>
                <a:gd name="connsiteX55" fmla="*/ 2319639 w 3124190"/>
                <a:gd name="connsiteY55" fmla="*/ 2771763 h 3126924"/>
                <a:gd name="connsiteX56" fmla="*/ 2316845 w 3124190"/>
                <a:gd name="connsiteY56" fmla="*/ 2723711 h 3126924"/>
                <a:gd name="connsiteX57" fmla="*/ 2166415 w 3124190"/>
                <a:gd name="connsiteY57" fmla="*/ 2723711 h 3126924"/>
                <a:gd name="connsiteX58" fmla="*/ 2181262 w 3124190"/>
                <a:gd name="connsiteY58" fmla="*/ 2767330 h 3126924"/>
                <a:gd name="connsiteX59" fmla="*/ 2214580 w 3124190"/>
                <a:gd name="connsiteY59" fmla="*/ 3017635 h 3126924"/>
                <a:gd name="connsiteX60" fmla="*/ 2214580 w 3124190"/>
                <a:gd name="connsiteY60" fmla="*/ 3126924 h 3126924"/>
                <a:gd name="connsiteX61" fmla="*/ 906004 w 3124190"/>
                <a:gd name="connsiteY61" fmla="*/ 3126924 h 3126924"/>
                <a:gd name="connsiteX62" fmla="*/ 1432607 w 3124190"/>
                <a:gd name="connsiteY62" fmla="*/ 3024747 h 3126924"/>
                <a:gd name="connsiteX63" fmla="*/ 1392902 w 3124190"/>
                <a:gd name="connsiteY63" fmla="*/ 2980320 h 3126924"/>
                <a:gd name="connsiteX64" fmla="*/ 1353197 w 3124190"/>
                <a:gd name="connsiteY64" fmla="*/ 2940304 h 3126924"/>
                <a:gd name="connsiteX65" fmla="*/ 1386398 w 3124190"/>
                <a:gd name="connsiteY65" fmla="*/ 2824480 h 3126924"/>
                <a:gd name="connsiteX66" fmla="*/ 1417920 w 3124190"/>
                <a:gd name="connsiteY66" fmla="*/ 2706993 h 3126924"/>
                <a:gd name="connsiteX67" fmla="*/ 1361805 w 3124190"/>
                <a:gd name="connsiteY67" fmla="*/ 2746132 h 3126924"/>
                <a:gd name="connsiteX68" fmla="*/ 1288502 w 3124190"/>
                <a:gd name="connsiteY68" fmla="*/ 2801135 h 3126924"/>
                <a:gd name="connsiteX69" fmla="*/ 1269635 w 3124190"/>
                <a:gd name="connsiteY69" fmla="*/ 2815289 h 3126924"/>
                <a:gd name="connsiteX70" fmla="*/ 1252383 w 3124190"/>
                <a:gd name="connsiteY70" fmla="*/ 2674804 h 3126924"/>
                <a:gd name="connsiteX71" fmla="*/ 1230678 w 3124190"/>
                <a:gd name="connsiteY71" fmla="*/ 2534319 h 3126924"/>
                <a:gd name="connsiteX72" fmla="*/ 1138652 w 3124190"/>
                <a:gd name="connsiteY72" fmla="*/ 2617377 h 3126924"/>
                <a:gd name="connsiteX73" fmla="*/ 1007156 w 3124190"/>
                <a:gd name="connsiteY73" fmla="*/ 2947623 h 3126924"/>
                <a:gd name="connsiteX74" fmla="*/ 1006936 w 3124190"/>
                <a:gd name="connsiteY74" fmla="*/ 3019390 h 3126924"/>
                <a:gd name="connsiteX75" fmla="*/ 1221648 w 3124190"/>
                <a:gd name="connsiteY75" fmla="*/ 3029181 h 3126924"/>
                <a:gd name="connsiteX76" fmla="*/ 1432605 w 3124190"/>
                <a:gd name="connsiteY76" fmla="*/ 3024747 h 3126924"/>
                <a:gd name="connsiteX77" fmla="*/ 2113355 w 3124190"/>
                <a:gd name="connsiteY77" fmla="*/ 2965034 h 3126924"/>
                <a:gd name="connsiteX78" fmla="*/ 2022559 w 3124190"/>
                <a:gd name="connsiteY78" fmla="*/ 2669331 h 3126924"/>
                <a:gd name="connsiteX79" fmla="*/ 1894009 w 3124190"/>
                <a:gd name="connsiteY79" fmla="*/ 2534319 h 3126924"/>
                <a:gd name="connsiteX80" fmla="*/ 1869426 w 3124190"/>
                <a:gd name="connsiteY80" fmla="*/ 2674804 h 3126924"/>
                <a:gd name="connsiteX81" fmla="*/ 1852173 w 3124190"/>
                <a:gd name="connsiteY81" fmla="*/ 2815289 h 3126924"/>
                <a:gd name="connsiteX82" fmla="*/ 1833306 w 3124190"/>
                <a:gd name="connsiteY82" fmla="*/ 2801135 h 3126924"/>
                <a:gd name="connsiteX83" fmla="*/ 1760004 w 3124190"/>
                <a:gd name="connsiteY83" fmla="*/ 2746132 h 3126924"/>
                <a:gd name="connsiteX84" fmla="*/ 1703888 w 3124190"/>
                <a:gd name="connsiteY84" fmla="*/ 2706993 h 3126924"/>
                <a:gd name="connsiteX85" fmla="*/ 1735411 w 3124190"/>
                <a:gd name="connsiteY85" fmla="*/ 2824480 h 3126924"/>
                <a:gd name="connsiteX86" fmla="*/ 1768611 w 3124190"/>
                <a:gd name="connsiteY86" fmla="*/ 2940304 h 3126924"/>
                <a:gd name="connsiteX87" fmla="*/ 1728906 w 3124190"/>
                <a:gd name="connsiteY87" fmla="*/ 2980320 h 3126924"/>
                <a:gd name="connsiteX88" fmla="*/ 1689201 w 3124190"/>
                <a:gd name="connsiteY88" fmla="*/ 3024840 h 3126924"/>
                <a:gd name="connsiteX89" fmla="*/ 1901495 w 3124190"/>
                <a:gd name="connsiteY89" fmla="*/ 3027726 h 3126924"/>
                <a:gd name="connsiteX90" fmla="*/ 2113794 w 3124190"/>
                <a:gd name="connsiteY90" fmla="*/ 3026133 h 3126924"/>
                <a:gd name="connsiteX91" fmla="*/ 1608412 w 3124190"/>
                <a:gd name="connsiteY91" fmla="*/ 2960300 h 3126924"/>
                <a:gd name="connsiteX92" fmla="*/ 1652551 w 3124190"/>
                <a:gd name="connsiteY92" fmla="*/ 2906706 h 3126924"/>
                <a:gd name="connsiteX93" fmla="*/ 1624700 w 3124190"/>
                <a:gd name="connsiteY93" fmla="*/ 2799934 h 3126924"/>
                <a:gd name="connsiteX94" fmla="*/ 1560914 w 3124190"/>
                <a:gd name="connsiteY94" fmla="*/ 2619848 h 3126924"/>
                <a:gd name="connsiteX95" fmla="*/ 1497129 w 3124190"/>
                <a:gd name="connsiteY95" fmla="*/ 2799934 h 3126924"/>
                <a:gd name="connsiteX96" fmla="*/ 1469278 w 3124190"/>
                <a:gd name="connsiteY96" fmla="*/ 2906706 h 3126924"/>
                <a:gd name="connsiteX97" fmla="*/ 1560917 w 3124190"/>
                <a:gd name="connsiteY97" fmla="*/ 3004750 h 3126924"/>
                <a:gd name="connsiteX98" fmla="*/ 1608415 w 3124190"/>
                <a:gd name="connsiteY98" fmla="*/ 2960300 h 3126924"/>
                <a:gd name="connsiteX99" fmla="*/ 2492534 w 3124190"/>
                <a:gd name="connsiteY99" fmla="*/ 2817575 h 3126924"/>
                <a:gd name="connsiteX100" fmla="*/ 2575657 w 3124190"/>
                <a:gd name="connsiteY100" fmla="*/ 2716761 h 3126924"/>
                <a:gd name="connsiteX101" fmla="*/ 2648621 w 3124190"/>
                <a:gd name="connsiteY101" fmla="*/ 2619848 h 3126924"/>
                <a:gd name="connsiteX102" fmla="*/ 2819924 w 3124190"/>
                <a:gd name="connsiteY102" fmla="*/ 2619848 h 3126924"/>
                <a:gd name="connsiteX103" fmla="*/ 3002795 w 3124190"/>
                <a:gd name="connsiteY103" fmla="*/ 2613660 h 3126924"/>
                <a:gd name="connsiteX104" fmla="*/ 3020689 w 3124190"/>
                <a:gd name="connsiteY104" fmla="*/ 2584657 h 3126924"/>
                <a:gd name="connsiteX105" fmla="*/ 3027062 w 3124190"/>
                <a:gd name="connsiteY105" fmla="*/ 2114111 h 3126924"/>
                <a:gd name="connsiteX106" fmla="*/ 2993189 w 3124190"/>
                <a:gd name="connsiteY106" fmla="*/ 1617795 h 3126924"/>
                <a:gd name="connsiteX107" fmla="*/ 2772798 w 3124190"/>
                <a:gd name="connsiteY107" fmla="*/ 1613246 h 3126924"/>
                <a:gd name="connsiteX108" fmla="*/ 2568615 w 3124190"/>
                <a:gd name="connsiteY108" fmla="*/ 1614839 h 3126924"/>
                <a:gd name="connsiteX109" fmla="*/ 2566953 w 3124190"/>
                <a:gd name="connsiteY109" fmla="*/ 1669911 h 3126924"/>
                <a:gd name="connsiteX110" fmla="*/ 2546126 w 3124190"/>
                <a:gd name="connsiteY110" fmla="*/ 1765969 h 3126924"/>
                <a:gd name="connsiteX111" fmla="*/ 2297195 w 3124190"/>
                <a:gd name="connsiteY111" fmla="*/ 1917261 h 3126924"/>
                <a:gd name="connsiteX112" fmla="*/ 2265401 w 3124190"/>
                <a:gd name="connsiteY112" fmla="*/ 1917261 h 3126924"/>
                <a:gd name="connsiteX113" fmla="*/ 2257550 w 3124190"/>
                <a:gd name="connsiteY113" fmla="*/ 1961226 h 3126924"/>
                <a:gd name="connsiteX114" fmla="*/ 1921001 w 3124190"/>
                <a:gd name="connsiteY114" fmla="*/ 2378317 h 3126924"/>
                <a:gd name="connsiteX115" fmla="*/ 1873570 w 3124190"/>
                <a:gd name="connsiteY115" fmla="*/ 2397713 h 3126924"/>
                <a:gd name="connsiteX116" fmla="*/ 1920369 w 3124190"/>
                <a:gd name="connsiteY116" fmla="*/ 2428863 h 3126924"/>
                <a:gd name="connsiteX117" fmla="*/ 2074010 w 3124190"/>
                <a:gd name="connsiteY117" fmla="*/ 2570410 h 3126924"/>
                <a:gd name="connsiteX118" fmla="*/ 2112939 w 3124190"/>
                <a:gd name="connsiteY118" fmla="*/ 2619848 h 3126924"/>
                <a:gd name="connsiteX119" fmla="*/ 2416177 w 3124190"/>
                <a:gd name="connsiteY119" fmla="*/ 2619848 h 3126924"/>
                <a:gd name="connsiteX120" fmla="*/ 2416177 w 3124190"/>
                <a:gd name="connsiteY120" fmla="*/ 2699580 h 3126924"/>
                <a:gd name="connsiteX121" fmla="*/ 2442014 w 3124190"/>
                <a:gd name="connsiteY121" fmla="*/ 2817368 h 3126924"/>
                <a:gd name="connsiteX122" fmla="*/ 2492534 w 3124190"/>
                <a:gd name="connsiteY122" fmla="*/ 2817552 h 3126924"/>
                <a:gd name="connsiteX123" fmla="*/ 2617750 w 3124190"/>
                <a:gd name="connsiteY123" fmla="*/ 2519010 h 3126924"/>
                <a:gd name="connsiteX124" fmla="*/ 2584524 w 3124190"/>
                <a:gd name="connsiteY124" fmla="*/ 2485367 h 3126924"/>
                <a:gd name="connsiteX125" fmla="*/ 2700019 w 3124190"/>
                <a:gd name="connsiteY125" fmla="*/ 2369358 h 3126924"/>
                <a:gd name="connsiteX126" fmla="*/ 2584386 w 3124190"/>
                <a:gd name="connsiteY126" fmla="*/ 2253234 h 3126924"/>
                <a:gd name="connsiteX127" fmla="*/ 2654394 w 3124190"/>
                <a:gd name="connsiteY127" fmla="*/ 2183222 h 3126924"/>
                <a:gd name="connsiteX128" fmla="*/ 2770512 w 3124190"/>
                <a:gd name="connsiteY128" fmla="*/ 2298861 h 3126924"/>
                <a:gd name="connsiteX129" fmla="*/ 2886653 w 3124190"/>
                <a:gd name="connsiteY129" fmla="*/ 2183222 h 3126924"/>
                <a:gd name="connsiteX130" fmla="*/ 2956661 w 3124190"/>
                <a:gd name="connsiteY130" fmla="*/ 2253234 h 3126924"/>
                <a:gd name="connsiteX131" fmla="*/ 2841005 w 3124190"/>
                <a:gd name="connsiteY131" fmla="*/ 2369358 h 3126924"/>
                <a:gd name="connsiteX132" fmla="*/ 2956661 w 3124190"/>
                <a:gd name="connsiteY132" fmla="*/ 2485505 h 3126924"/>
                <a:gd name="connsiteX133" fmla="*/ 2886653 w 3124190"/>
                <a:gd name="connsiteY133" fmla="*/ 2555517 h 3126924"/>
                <a:gd name="connsiteX134" fmla="*/ 2770512 w 3124190"/>
                <a:gd name="connsiteY134" fmla="*/ 2439854 h 3126924"/>
                <a:gd name="connsiteX135" fmla="*/ 2713896 w 3124190"/>
                <a:gd name="connsiteY135" fmla="*/ 2496265 h 3126924"/>
                <a:gd name="connsiteX136" fmla="*/ 2654116 w 3124190"/>
                <a:gd name="connsiteY136" fmla="*/ 2552654 h 3126924"/>
                <a:gd name="connsiteX137" fmla="*/ 2617750 w 3124190"/>
                <a:gd name="connsiteY137" fmla="*/ 2519010 h 3126924"/>
                <a:gd name="connsiteX138" fmla="*/ 2215873 w 3124190"/>
                <a:gd name="connsiteY138" fmla="*/ 2471697 h 3126924"/>
                <a:gd name="connsiteX139" fmla="*/ 2217651 w 3124190"/>
                <a:gd name="connsiteY139" fmla="*/ 2421290 h 3126924"/>
                <a:gd name="connsiteX140" fmla="*/ 2520057 w 3124190"/>
                <a:gd name="connsiteY140" fmla="*/ 2418033 h 3126924"/>
                <a:gd name="connsiteX141" fmla="*/ 2520057 w 3124190"/>
                <a:gd name="connsiteY141" fmla="*/ 2522104 h 3126924"/>
                <a:gd name="connsiteX142" fmla="*/ 2214095 w 3124190"/>
                <a:gd name="connsiteY142" fmla="*/ 2522104 h 3126924"/>
                <a:gd name="connsiteX143" fmla="*/ 2215873 w 3124190"/>
                <a:gd name="connsiteY143" fmla="*/ 2270090 h 3126924"/>
                <a:gd name="connsiteX144" fmla="*/ 2217651 w 3124190"/>
                <a:gd name="connsiteY144" fmla="*/ 2219682 h 3126924"/>
                <a:gd name="connsiteX145" fmla="*/ 2520057 w 3124190"/>
                <a:gd name="connsiteY145" fmla="*/ 2216403 h 3126924"/>
                <a:gd name="connsiteX146" fmla="*/ 2520057 w 3124190"/>
                <a:gd name="connsiteY146" fmla="*/ 2320497 h 3126924"/>
                <a:gd name="connsiteX147" fmla="*/ 2214095 w 3124190"/>
                <a:gd name="connsiteY147" fmla="*/ 2320497 h 3126924"/>
                <a:gd name="connsiteX148" fmla="*/ 2622253 w 3124190"/>
                <a:gd name="connsiteY148" fmla="*/ 2016436 h 3126924"/>
                <a:gd name="connsiteX149" fmla="*/ 2587295 w 3124190"/>
                <a:gd name="connsiteY149" fmla="*/ 1981107 h 3126924"/>
                <a:gd name="connsiteX150" fmla="*/ 2642248 w 3124190"/>
                <a:gd name="connsiteY150" fmla="*/ 1926405 h 3126924"/>
                <a:gd name="connsiteX151" fmla="*/ 2697225 w 3124190"/>
                <a:gd name="connsiteY151" fmla="*/ 1865329 h 3126924"/>
                <a:gd name="connsiteX152" fmla="*/ 2642248 w 3124190"/>
                <a:gd name="connsiteY152" fmla="*/ 1804254 h 3126924"/>
                <a:gd name="connsiteX153" fmla="*/ 2587295 w 3124190"/>
                <a:gd name="connsiteY153" fmla="*/ 1749551 h 3126924"/>
                <a:gd name="connsiteX154" fmla="*/ 2657211 w 3124190"/>
                <a:gd name="connsiteY154" fmla="*/ 1678917 h 3126924"/>
                <a:gd name="connsiteX155" fmla="*/ 2773814 w 3124190"/>
                <a:gd name="connsiteY155" fmla="*/ 1795087 h 3126924"/>
                <a:gd name="connsiteX156" fmla="*/ 2889332 w 3124190"/>
                <a:gd name="connsiteY156" fmla="*/ 1679078 h 3126924"/>
                <a:gd name="connsiteX157" fmla="*/ 2921565 w 3124190"/>
                <a:gd name="connsiteY157" fmla="*/ 1710897 h 3126924"/>
                <a:gd name="connsiteX158" fmla="*/ 2953798 w 3124190"/>
                <a:gd name="connsiteY158" fmla="*/ 1749182 h 3126924"/>
                <a:gd name="connsiteX159" fmla="*/ 2898799 w 3124190"/>
                <a:gd name="connsiteY159" fmla="*/ 1810350 h 3126924"/>
                <a:gd name="connsiteX160" fmla="*/ 2843822 w 3124190"/>
                <a:gd name="connsiteY160" fmla="*/ 1865098 h 3126924"/>
                <a:gd name="connsiteX161" fmla="*/ 2959986 w 3124190"/>
                <a:gd name="connsiteY161" fmla="*/ 1981707 h 3126924"/>
                <a:gd name="connsiteX162" fmla="*/ 2889355 w 3124190"/>
                <a:gd name="connsiteY162" fmla="*/ 2051627 h 3126924"/>
                <a:gd name="connsiteX163" fmla="*/ 2834655 w 3124190"/>
                <a:gd name="connsiteY163" fmla="*/ 1996671 h 3126924"/>
                <a:gd name="connsiteX164" fmla="*/ 2773814 w 3124190"/>
                <a:gd name="connsiteY164" fmla="*/ 1941714 h 3126924"/>
                <a:gd name="connsiteX165" fmla="*/ 2712441 w 3124190"/>
                <a:gd name="connsiteY165" fmla="*/ 1996717 h 3126924"/>
                <a:gd name="connsiteX166" fmla="*/ 2657187 w 3124190"/>
                <a:gd name="connsiteY166" fmla="*/ 2051742 h 3126924"/>
                <a:gd name="connsiteX167" fmla="*/ 1399739 w 3124190"/>
                <a:gd name="connsiteY167" fmla="*/ 2592416 h 3126924"/>
                <a:gd name="connsiteX168" fmla="*/ 1444323 w 3124190"/>
                <a:gd name="connsiteY168" fmla="*/ 2558865 h 3126924"/>
                <a:gd name="connsiteX169" fmla="*/ 1413263 w 3124190"/>
                <a:gd name="connsiteY169" fmla="*/ 2506888 h 3126924"/>
                <a:gd name="connsiteX170" fmla="*/ 1376663 w 3124190"/>
                <a:gd name="connsiteY170" fmla="*/ 2454910 h 3126924"/>
                <a:gd name="connsiteX171" fmla="*/ 1328946 w 3124190"/>
                <a:gd name="connsiteY171" fmla="*/ 2480564 h 3126924"/>
                <a:gd name="connsiteX172" fmla="*/ 1337916 w 3124190"/>
                <a:gd name="connsiteY172" fmla="*/ 2552654 h 3126924"/>
                <a:gd name="connsiteX173" fmla="*/ 1346887 w 3124190"/>
                <a:gd name="connsiteY173" fmla="*/ 2621395 h 3126924"/>
                <a:gd name="connsiteX174" fmla="*/ 1399739 w 3124190"/>
                <a:gd name="connsiteY174" fmla="*/ 2592416 h 3126924"/>
                <a:gd name="connsiteX175" fmla="*/ 1774924 w 3124190"/>
                <a:gd name="connsiteY175" fmla="*/ 2621395 h 3126924"/>
                <a:gd name="connsiteX176" fmla="*/ 1783894 w 3124190"/>
                <a:gd name="connsiteY176" fmla="*/ 2552654 h 3126924"/>
                <a:gd name="connsiteX177" fmla="*/ 1792865 w 3124190"/>
                <a:gd name="connsiteY177" fmla="*/ 2481025 h 3126924"/>
                <a:gd name="connsiteX178" fmla="*/ 1748311 w 3124190"/>
                <a:gd name="connsiteY178" fmla="*/ 2454910 h 3126924"/>
                <a:gd name="connsiteX179" fmla="*/ 1708573 w 3124190"/>
                <a:gd name="connsiteY179" fmla="*/ 2506841 h 3126924"/>
                <a:gd name="connsiteX180" fmla="*/ 1677536 w 3124190"/>
                <a:gd name="connsiteY180" fmla="*/ 2558772 h 3126924"/>
                <a:gd name="connsiteX181" fmla="*/ 1721552 w 3124190"/>
                <a:gd name="connsiteY181" fmla="*/ 2592254 h 3126924"/>
                <a:gd name="connsiteX182" fmla="*/ 1774926 w 3124190"/>
                <a:gd name="connsiteY182" fmla="*/ 2621395 h 3126924"/>
                <a:gd name="connsiteX183" fmla="*/ 1610858 w 3124190"/>
                <a:gd name="connsiteY183" fmla="*/ 2474768 h 3126924"/>
                <a:gd name="connsiteX184" fmla="*/ 1639353 w 3124190"/>
                <a:gd name="connsiteY184" fmla="*/ 2427408 h 3126924"/>
                <a:gd name="connsiteX185" fmla="*/ 1600132 w 3124190"/>
                <a:gd name="connsiteY185" fmla="*/ 2422860 h 3126924"/>
                <a:gd name="connsiteX186" fmla="*/ 1521690 w 3124190"/>
                <a:gd name="connsiteY186" fmla="*/ 2422860 h 3126924"/>
                <a:gd name="connsiteX187" fmla="*/ 1482469 w 3124190"/>
                <a:gd name="connsiteY187" fmla="*/ 2427408 h 3126924"/>
                <a:gd name="connsiteX188" fmla="*/ 1510964 w 3124190"/>
                <a:gd name="connsiteY188" fmla="*/ 2474768 h 3126924"/>
                <a:gd name="connsiteX189" fmla="*/ 1560912 w 3124190"/>
                <a:gd name="connsiteY189" fmla="*/ 2522104 h 3126924"/>
                <a:gd name="connsiteX190" fmla="*/ 1610860 w 3124190"/>
                <a:gd name="connsiteY190" fmla="*/ 2474768 h 3126924"/>
                <a:gd name="connsiteX191" fmla="*/ 1826659 w 3124190"/>
                <a:gd name="connsiteY191" fmla="*/ 2306297 h 3126924"/>
                <a:gd name="connsiteX192" fmla="*/ 2148013 w 3124190"/>
                <a:gd name="connsiteY192" fmla="*/ 1993622 h 3126924"/>
                <a:gd name="connsiteX193" fmla="*/ 2164360 w 3124190"/>
                <a:gd name="connsiteY193" fmla="*/ 1695957 h 3126924"/>
                <a:gd name="connsiteX194" fmla="*/ 2124115 w 3124190"/>
                <a:gd name="connsiteY194" fmla="*/ 1380813 h 3126924"/>
                <a:gd name="connsiteX195" fmla="*/ 2102549 w 3124190"/>
                <a:gd name="connsiteY195" fmla="*/ 1364372 h 3126924"/>
                <a:gd name="connsiteX196" fmla="*/ 1307382 w 3124190"/>
                <a:gd name="connsiteY196" fmla="*/ 1358253 h 3126924"/>
                <a:gd name="connsiteX197" fmla="*/ 1271674 w 3124190"/>
                <a:gd name="connsiteY197" fmla="*/ 1340173 h 3126924"/>
                <a:gd name="connsiteX198" fmla="*/ 1172330 w 3124190"/>
                <a:gd name="connsiteY198" fmla="*/ 1235224 h 3126924"/>
                <a:gd name="connsiteX199" fmla="*/ 1161638 w 3124190"/>
                <a:gd name="connsiteY199" fmla="*/ 1207215 h 3126924"/>
                <a:gd name="connsiteX200" fmla="*/ 1134205 w 3124190"/>
                <a:gd name="connsiteY200" fmla="*/ 1210979 h 3126924"/>
                <a:gd name="connsiteX201" fmla="*/ 976144 w 3124190"/>
                <a:gd name="connsiteY201" fmla="*/ 1323686 h 3126924"/>
                <a:gd name="connsiteX202" fmla="*/ 959161 w 3124190"/>
                <a:gd name="connsiteY202" fmla="*/ 1358253 h 3126924"/>
                <a:gd name="connsiteX203" fmla="*/ 957390 w 3124190"/>
                <a:gd name="connsiteY203" fmla="*/ 1633173 h 3126924"/>
                <a:gd name="connsiteX204" fmla="*/ 996149 w 3124190"/>
                <a:gd name="connsiteY204" fmla="*/ 2050588 h 3126924"/>
                <a:gd name="connsiteX205" fmla="*/ 1321783 w 3124190"/>
                <a:gd name="connsiteY205" fmla="*/ 2311446 h 3126924"/>
                <a:gd name="connsiteX206" fmla="*/ 1826663 w 3124190"/>
                <a:gd name="connsiteY206" fmla="*/ 2306297 h 3126924"/>
                <a:gd name="connsiteX207" fmla="*/ 1312173 w 3124190"/>
                <a:gd name="connsiteY207" fmla="*/ 2187540 h 3126924"/>
                <a:gd name="connsiteX208" fmla="*/ 1376178 w 3124190"/>
                <a:gd name="connsiteY208" fmla="*/ 2051003 h 3126924"/>
                <a:gd name="connsiteX209" fmla="*/ 1743998 w 3124190"/>
                <a:gd name="connsiteY209" fmla="*/ 2049410 h 3126924"/>
                <a:gd name="connsiteX210" fmla="*/ 1809630 w 3124190"/>
                <a:gd name="connsiteY210" fmla="*/ 2187540 h 3126924"/>
                <a:gd name="connsiteX211" fmla="*/ 1813075 w 3124190"/>
                <a:gd name="connsiteY211" fmla="*/ 2216635 h 3126924"/>
                <a:gd name="connsiteX212" fmla="*/ 1714180 w 3124190"/>
                <a:gd name="connsiteY212" fmla="*/ 2216635 h 3126924"/>
                <a:gd name="connsiteX213" fmla="*/ 1710021 w 3124190"/>
                <a:gd name="connsiteY213" fmla="*/ 2193728 h 3126924"/>
                <a:gd name="connsiteX214" fmla="*/ 1660974 w 3124190"/>
                <a:gd name="connsiteY214" fmla="*/ 2106837 h 3126924"/>
                <a:gd name="connsiteX215" fmla="*/ 1560896 w 3124190"/>
                <a:gd name="connsiteY215" fmla="*/ 2070007 h 3126924"/>
                <a:gd name="connsiteX216" fmla="*/ 1460818 w 3124190"/>
                <a:gd name="connsiteY216" fmla="*/ 2106837 h 3126924"/>
                <a:gd name="connsiteX217" fmla="*/ 1411771 w 3124190"/>
                <a:gd name="connsiteY217" fmla="*/ 2193728 h 3126924"/>
                <a:gd name="connsiteX218" fmla="*/ 1407615 w 3124190"/>
                <a:gd name="connsiteY218" fmla="*/ 2216635 h 3126924"/>
                <a:gd name="connsiteX219" fmla="*/ 1308719 w 3124190"/>
                <a:gd name="connsiteY219" fmla="*/ 2216635 h 3126924"/>
                <a:gd name="connsiteX220" fmla="*/ 1218755 w 3124190"/>
                <a:gd name="connsiteY220" fmla="*/ 1759180 h 3126924"/>
                <a:gd name="connsiteX221" fmla="*/ 1143766 w 3124190"/>
                <a:gd name="connsiteY221" fmla="*/ 1709442 h 3126924"/>
                <a:gd name="connsiteX222" fmla="*/ 1178518 w 3124190"/>
                <a:gd name="connsiteY222" fmla="*/ 1486869 h 3126924"/>
                <a:gd name="connsiteX223" fmla="*/ 1325145 w 3124190"/>
                <a:gd name="connsiteY223" fmla="*/ 1479896 h 3126924"/>
                <a:gd name="connsiteX224" fmla="*/ 1268109 w 3124190"/>
                <a:gd name="connsiteY224" fmla="*/ 1761997 h 3126924"/>
                <a:gd name="connsiteX225" fmla="*/ 1218755 w 3124190"/>
                <a:gd name="connsiteY225" fmla="*/ 1759203 h 3126924"/>
                <a:gd name="connsiteX226" fmla="*/ 1297823 w 3124190"/>
                <a:gd name="connsiteY226" fmla="*/ 1645873 h 3126924"/>
                <a:gd name="connsiteX227" fmla="*/ 1308057 w 3124190"/>
                <a:gd name="connsiteY227" fmla="*/ 1619088 h 3126924"/>
                <a:gd name="connsiteX228" fmla="*/ 1293291 w 3124190"/>
                <a:gd name="connsiteY228" fmla="*/ 1581496 h 3126924"/>
                <a:gd name="connsiteX229" fmla="*/ 1258506 w 3124190"/>
                <a:gd name="connsiteY229" fmla="*/ 1562931 h 3126924"/>
                <a:gd name="connsiteX230" fmla="*/ 1206577 w 3124190"/>
                <a:gd name="connsiteY230" fmla="*/ 1613546 h 3126924"/>
                <a:gd name="connsiteX231" fmla="*/ 1244878 w 3124190"/>
                <a:gd name="connsiteY231" fmla="*/ 1662037 h 3126924"/>
                <a:gd name="connsiteX232" fmla="*/ 1297821 w 3124190"/>
                <a:gd name="connsiteY232" fmla="*/ 1645873 h 3126924"/>
                <a:gd name="connsiteX233" fmla="*/ 1823553 w 3124190"/>
                <a:gd name="connsiteY233" fmla="*/ 1759180 h 3126924"/>
                <a:gd name="connsiteX234" fmla="*/ 1715311 w 3124190"/>
                <a:gd name="connsiteY234" fmla="*/ 1598976 h 3126924"/>
                <a:gd name="connsiteX235" fmla="*/ 1783567 w 3124190"/>
                <a:gd name="connsiteY235" fmla="*/ 1486708 h 3126924"/>
                <a:gd name="connsiteX236" fmla="*/ 1863302 w 3124190"/>
                <a:gd name="connsiteY236" fmla="*/ 1468212 h 3126924"/>
                <a:gd name="connsiteX237" fmla="*/ 1943038 w 3124190"/>
                <a:gd name="connsiteY237" fmla="*/ 1486708 h 3126924"/>
                <a:gd name="connsiteX238" fmla="*/ 1931816 w 3124190"/>
                <a:gd name="connsiteY238" fmla="*/ 1747081 h 3126924"/>
                <a:gd name="connsiteX239" fmla="*/ 1823553 w 3124190"/>
                <a:gd name="connsiteY239" fmla="*/ 1759180 h 3126924"/>
                <a:gd name="connsiteX240" fmla="*/ 1902622 w 3124190"/>
                <a:gd name="connsiteY240" fmla="*/ 1645873 h 3126924"/>
                <a:gd name="connsiteX241" fmla="*/ 1912855 w 3124190"/>
                <a:gd name="connsiteY241" fmla="*/ 1619088 h 3126924"/>
                <a:gd name="connsiteX242" fmla="*/ 1898087 w 3124190"/>
                <a:gd name="connsiteY242" fmla="*/ 1581496 h 3126924"/>
                <a:gd name="connsiteX243" fmla="*/ 1829231 w 3124190"/>
                <a:gd name="connsiteY243" fmla="*/ 1580780 h 3126924"/>
                <a:gd name="connsiteX244" fmla="*/ 1817437 w 3124190"/>
                <a:gd name="connsiteY244" fmla="*/ 1633058 h 3126924"/>
                <a:gd name="connsiteX245" fmla="*/ 1902622 w 3124190"/>
                <a:gd name="connsiteY245" fmla="*/ 1645873 h 3126924"/>
                <a:gd name="connsiteX246" fmla="*/ 852247 w 3124190"/>
                <a:gd name="connsiteY246" fmla="*/ 1663723 h 3126924"/>
                <a:gd name="connsiteX247" fmla="*/ 852247 w 3124190"/>
                <a:gd name="connsiteY247" fmla="*/ 1514047 h 3126924"/>
                <a:gd name="connsiteX248" fmla="*/ 810179 w 3124190"/>
                <a:gd name="connsiteY248" fmla="*/ 1514047 h 3126924"/>
                <a:gd name="connsiteX249" fmla="*/ 657025 w 3124190"/>
                <a:gd name="connsiteY249" fmla="*/ 1631880 h 3126924"/>
                <a:gd name="connsiteX250" fmla="*/ 810579 w 3124190"/>
                <a:gd name="connsiteY250" fmla="*/ 1813398 h 3126924"/>
                <a:gd name="connsiteX251" fmla="*/ 852247 w 3124190"/>
                <a:gd name="connsiteY251" fmla="*/ 1813398 h 3126924"/>
                <a:gd name="connsiteX252" fmla="*/ 2386368 w 3124190"/>
                <a:gd name="connsiteY252" fmla="*/ 1796357 h 3126924"/>
                <a:gd name="connsiteX253" fmla="*/ 2386045 w 3124190"/>
                <a:gd name="connsiteY253" fmla="*/ 1530858 h 3126924"/>
                <a:gd name="connsiteX254" fmla="*/ 2311257 w 3124190"/>
                <a:gd name="connsiteY254" fmla="*/ 1514047 h 3126924"/>
                <a:gd name="connsiteX255" fmla="*/ 2269580 w 3124190"/>
                <a:gd name="connsiteY255" fmla="*/ 1514047 h 3126924"/>
                <a:gd name="connsiteX256" fmla="*/ 2269580 w 3124190"/>
                <a:gd name="connsiteY256" fmla="*/ 1813421 h 3126924"/>
                <a:gd name="connsiteX257" fmla="*/ 2311650 w 3124190"/>
                <a:gd name="connsiteY257" fmla="*/ 1813421 h 3126924"/>
                <a:gd name="connsiteX258" fmla="*/ 2386368 w 3124190"/>
                <a:gd name="connsiteY258" fmla="*/ 1796357 h 3126924"/>
                <a:gd name="connsiteX259" fmla="*/ 730079 w 3124190"/>
                <a:gd name="connsiteY259" fmla="*/ 1425355 h 3126924"/>
                <a:gd name="connsiteX260" fmla="*/ 806444 w 3124190"/>
                <a:gd name="connsiteY260" fmla="*/ 1411200 h 3126924"/>
                <a:gd name="connsiteX261" fmla="*/ 855318 w 3124190"/>
                <a:gd name="connsiteY261" fmla="*/ 1407113 h 3126924"/>
                <a:gd name="connsiteX262" fmla="*/ 859460 w 3124190"/>
                <a:gd name="connsiteY262" fmla="*/ 1369568 h 3126924"/>
                <a:gd name="connsiteX263" fmla="*/ 954557 w 3124190"/>
                <a:gd name="connsiteY263" fmla="*/ 1189228 h 3126924"/>
                <a:gd name="connsiteX264" fmla="*/ 1136618 w 3124190"/>
                <a:gd name="connsiteY264" fmla="*/ 1110811 h 3126924"/>
                <a:gd name="connsiteX265" fmla="*/ 1172603 w 3124190"/>
                <a:gd name="connsiteY265" fmla="*/ 1083494 h 3126924"/>
                <a:gd name="connsiteX266" fmla="*/ 1272556 w 3124190"/>
                <a:gd name="connsiteY266" fmla="*/ 978246 h 3126924"/>
                <a:gd name="connsiteX267" fmla="*/ 1359323 w 3124190"/>
                <a:gd name="connsiteY267" fmla="*/ 961182 h 3126924"/>
                <a:gd name="connsiteX268" fmla="*/ 1439816 w 3124190"/>
                <a:gd name="connsiteY268" fmla="*/ 974390 h 3126924"/>
                <a:gd name="connsiteX269" fmla="*/ 1558220 w 3124190"/>
                <a:gd name="connsiteY269" fmla="*/ 1130669 h 3126924"/>
                <a:gd name="connsiteX270" fmla="*/ 1562314 w 3124190"/>
                <a:gd name="connsiteY270" fmla="*/ 1159694 h 3126924"/>
                <a:gd name="connsiteX271" fmla="*/ 1512555 w 3124190"/>
                <a:gd name="connsiteY271" fmla="*/ 1159694 h 3126924"/>
                <a:gd name="connsiteX272" fmla="*/ 1460444 w 3124190"/>
                <a:gd name="connsiteY272" fmla="*/ 1152051 h 3126924"/>
                <a:gd name="connsiteX273" fmla="*/ 1454166 w 3124190"/>
                <a:gd name="connsiteY273" fmla="*/ 1126651 h 3126924"/>
                <a:gd name="connsiteX274" fmla="*/ 1333730 w 3124190"/>
                <a:gd name="connsiteY274" fmla="*/ 1062250 h 3126924"/>
                <a:gd name="connsiteX275" fmla="*/ 1305586 w 3124190"/>
                <a:gd name="connsiteY275" fmla="*/ 1243722 h 3126924"/>
                <a:gd name="connsiteX276" fmla="*/ 1330925 w 3124190"/>
                <a:gd name="connsiteY276" fmla="*/ 1260509 h 3126924"/>
                <a:gd name="connsiteX277" fmla="*/ 2126031 w 3124190"/>
                <a:gd name="connsiteY277" fmla="*/ 1266605 h 3126924"/>
                <a:gd name="connsiteX278" fmla="*/ 2158749 w 3124190"/>
                <a:gd name="connsiteY278" fmla="*/ 1284732 h 3126924"/>
                <a:gd name="connsiteX279" fmla="*/ 2249007 w 3124190"/>
                <a:gd name="connsiteY279" fmla="*/ 1382244 h 3126924"/>
                <a:gd name="connsiteX280" fmla="*/ 2259929 w 3124190"/>
                <a:gd name="connsiteY280" fmla="*/ 1408637 h 3126924"/>
                <a:gd name="connsiteX281" fmla="*/ 2312111 w 3124190"/>
                <a:gd name="connsiteY281" fmla="*/ 1411732 h 3126924"/>
                <a:gd name="connsiteX282" fmla="*/ 2400730 w 3124190"/>
                <a:gd name="connsiteY282" fmla="*/ 1427780 h 3126924"/>
                <a:gd name="connsiteX283" fmla="*/ 2438666 w 3124190"/>
                <a:gd name="connsiteY283" fmla="*/ 1440734 h 3126924"/>
                <a:gd name="connsiteX284" fmla="*/ 2465358 w 3124190"/>
                <a:gd name="connsiteY284" fmla="*/ 1318652 h 3126924"/>
                <a:gd name="connsiteX285" fmla="*/ 2385929 w 3124190"/>
                <a:gd name="connsiteY285" fmla="*/ 952546 h 3126924"/>
                <a:gd name="connsiteX286" fmla="*/ 2050181 w 3124190"/>
                <a:gd name="connsiteY286" fmla="*/ 683560 h 3126924"/>
                <a:gd name="connsiteX287" fmla="*/ 1557874 w 3124190"/>
                <a:gd name="connsiteY287" fmla="*/ 655643 h 3126924"/>
                <a:gd name="connsiteX288" fmla="*/ 1028057 w 3124190"/>
                <a:gd name="connsiteY288" fmla="*/ 700185 h 3126924"/>
                <a:gd name="connsiteX289" fmla="*/ 656473 w 3124190"/>
                <a:gd name="connsiteY289" fmla="*/ 1318490 h 3126924"/>
                <a:gd name="connsiteX290" fmla="*/ 672823 w 3124190"/>
                <a:gd name="connsiteY290" fmla="*/ 1410877 h 3126924"/>
                <a:gd name="connsiteX291" fmla="*/ 730084 w 3124190"/>
                <a:gd name="connsiteY291" fmla="*/ 1425332 h 3126924"/>
                <a:gd name="connsiteX292" fmla="*/ 157985 w 3124190"/>
                <a:gd name="connsiteY292" fmla="*/ 1306668 h 3126924"/>
                <a:gd name="connsiteX293" fmla="*/ 221001 w 3124190"/>
                <a:gd name="connsiteY293" fmla="*/ 1205968 h 3126924"/>
                <a:gd name="connsiteX294" fmla="*/ 268848 w 3124190"/>
                <a:gd name="connsiteY294" fmla="*/ 1111042 h 3126924"/>
                <a:gd name="connsiteX295" fmla="*/ 566013 w 3124190"/>
                <a:gd name="connsiteY295" fmla="*/ 1107763 h 3126924"/>
                <a:gd name="connsiteX296" fmla="*/ 585960 w 3124190"/>
                <a:gd name="connsiteY296" fmla="*/ 1046664 h 3126924"/>
                <a:gd name="connsiteX297" fmla="*/ 1141730 w 3124190"/>
                <a:gd name="connsiteY297" fmla="*/ 564110 h 3126924"/>
                <a:gd name="connsiteX298" fmla="*/ 1354024 w 3124190"/>
                <a:gd name="connsiteY298" fmla="*/ 554874 h 3126924"/>
                <a:gd name="connsiteX299" fmla="*/ 1512061 w 3124190"/>
                <a:gd name="connsiteY299" fmla="*/ 554874 h 3126924"/>
                <a:gd name="connsiteX300" fmla="*/ 1512061 w 3124190"/>
                <a:gd name="connsiteY300" fmla="*/ 350589 h 3126924"/>
                <a:gd name="connsiteX301" fmla="*/ 1505991 w 3124190"/>
                <a:gd name="connsiteY301" fmla="*/ 130347 h 3126924"/>
                <a:gd name="connsiteX302" fmla="*/ 808173 w 3124190"/>
                <a:gd name="connsiteY302" fmla="*/ 96681 h 3126924"/>
                <a:gd name="connsiteX303" fmla="*/ 135477 w 3124190"/>
                <a:gd name="connsiteY303" fmla="*/ 103216 h 3126924"/>
                <a:gd name="connsiteX304" fmla="*/ 94728 w 3124190"/>
                <a:gd name="connsiteY304" fmla="*/ 706489 h 3126924"/>
                <a:gd name="connsiteX305" fmla="*/ 101158 w 3124190"/>
                <a:gd name="connsiteY305" fmla="*/ 1280183 h 3126924"/>
                <a:gd name="connsiteX306" fmla="*/ 121013 w 3124190"/>
                <a:gd name="connsiteY306" fmla="*/ 1305121 h 3126924"/>
                <a:gd name="connsiteX307" fmla="*/ 157975 w 3124190"/>
                <a:gd name="connsiteY307" fmla="*/ 1306668 h 3126924"/>
                <a:gd name="connsiteX308" fmla="*/ 232216 w 3124190"/>
                <a:gd name="connsiteY308" fmla="*/ 909227 h 3126924"/>
                <a:gd name="connsiteX309" fmla="*/ 165161 w 3124190"/>
                <a:gd name="connsiteY309" fmla="*/ 841940 h 3126924"/>
                <a:gd name="connsiteX310" fmla="*/ 235238 w 3124190"/>
                <a:gd name="connsiteY310" fmla="*/ 771859 h 3126924"/>
                <a:gd name="connsiteX311" fmla="*/ 299257 w 3124190"/>
                <a:gd name="connsiteY311" fmla="*/ 835890 h 3126924"/>
                <a:gd name="connsiteX312" fmla="*/ 516263 w 3124190"/>
                <a:gd name="connsiteY312" fmla="*/ 619113 h 3126924"/>
                <a:gd name="connsiteX313" fmla="*/ 586440 w 3124190"/>
                <a:gd name="connsiteY313" fmla="*/ 689309 h 3126924"/>
                <a:gd name="connsiteX314" fmla="*/ 299273 w 3124190"/>
                <a:gd name="connsiteY314" fmla="*/ 976491 h 3126924"/>
                <a:gd name="connsiteX315" fmla="*/ 233657 w 3124190"/>
                <a:gd name="connsiteY315" fmla="*/ 458562 h 3126924"/>
                <a:gd name="connsiteX316" fmla="*/ 168042 w 3124190"/>
                <a:gd name="connsiteY316" fmla="*/ 386518 h 3126924"/>
                <a:gd name="connsiteX317" fmla="*/ 200329 w 3124190"/>
                <a:gd name="connsiteY317" fmla="*/ 348418 h 3126924"/>
                <a:gd name="connsiteX318" fmla="*/ 232611 w 3124190"/>
                <a:gd name="connsiteY318" fmla="*/ 316530 h 3126924"/>
                <a:gd name="connsiteX319" fmla="*/ 262717 w 3124190"/>
                <a:gd name="connsiteY319" fmla="*/ 347102 h 3126924"/>
                <a:gd name="connsiteX320" fmla="*/ 299095 w 3124190"/>
                <a:gd name="connsiteY320" fmla="*/ 377651 h 3126924"/>
                <a:gd name="connsiteX321" fmla="*/ 410819 w 3124190"/>
                <a:gd name="connsiteY321" fmla="*/ 272334 h 3126924"/>
                <a:gd name="connsiteX322" fmla="*/ 516266 w 3124190"/>
                <a:gd name="connsiteY322" fmla="*/ 167016 h 3126924"/>
                <a:gd name="connsiteX323" fmla="*/ 586440 w 3124190"/>
                <a:gd name="connsiteY323" fmla="*/ 237189 h 3126924"/>
                <a:gd name="connsiteX324" fmla="*/ 299273 w 3124190"/>
                <a:gd name="connsiteY324" fmla="*/ 524371 h 3126924"/>
                <a:gd name="connsiteX325" fmla="*/ 705659 w 3124190"/>
                <a:gd name="connsiteY325" fmla="*/ 454036 h 3126924"/>
                <a:gd name="connsiteX326" fmla="*/ 705659 w 3124190"/>
                <a:gd name="connsiteY326" fmla="*/ 402105 h 3126924"/>
                <a:gd name="connsiteX327" fmla="*/ 1408208 w 3124190"/>
                <a:gd name="connsiteY327" fmla="*/ 402105 h 3126924"/>
                <a:gd name="connsiteX328" fmla="*/ 1408208 w 3124190"/>
                <a:gd name="connsiteY328" fmla="*/ 505944 h 3126924"/>
                <a:gd name="connsiteX329" fmla="*/ 705659 w 3124190"/>
                <a:gd name="connsiteY329" fmla="*/ 505944 h 3126924"/>
                <a:gd name="connsiteX330" fmla="*/ 705659 w 3124190"/>
                <a:gd name="connsiteY330" fmla="*/ 252406 h 3126924"/>
                <a:gd name="connsiteX331" fmla="*/ 705659 w 3124190"/>
                <a:gd name="connsiteY331" fmla="*/ 200475 h 3126924"/>
                <a:gd name="connsiteX332" fmla="*/ 1408208 w 3124190"/>
                <a:gd name="connsiteY332" fmla="*/ 200475 h 3126924"/>
                <a:gd name="connsiteX333" fmla="*/ 1408208 w 3124190"/>
                <a:gd name="connsiteY333" fmla="*/ 304338 h 3126924"/>
                <a:gd name="connsiteX334" fmla="*/ 705659 w 3124190"/>
                <a:gd name="connsiteY334" fmla="*/ 304338 h 3126924"/>
                <a:gd name="connsiteX335" fmla="*/ 400205 w 3124190"/>
                <a:gd name="connsiteY335" fmla="*/ 2571195 h 3126924"/>
                <a:gd name="connsiteX336" fmla="*/ 400205 w 3124190"/>
                <a:gd name="connsiteY336" fmla="*/ 2418218 h 3126924"/>
                <a:gd name="connsiteX337" fmla="*/ 444494 w 3124190"/>
                <a:gd name="connsiteY337" fmla="*/ 2418080 h 3126924"/>
                <a:gd name="connsiteX338" fmla="*/ 562782 w 3124190"/>
                <a:gd name="connsiteY338" fmla="*/ 2367534 h 3126924"/>
                <a:gd name="connsiteX339" fmla="*/ 587304 w 3124190"/>
                <a:gd name="connsiteY339" fmla="*/ 2207098 h 3126924"/>
                <a:gd name="connsiteX340" fmla="*/ 355506 w 3124190"/>
                <a:gd name="connsiteY340" fmla="*/ 2152003 h 3126924"/>
                <a:gd name="connsiteX341" fmla="*/ 298908 w 3124190"/>
                <a:gd name="connsiteY341" fmla="*/ 2276163 h 3126924"/>
                <a:gd name="connsiteX342" fmla="*/ 294764 w 3124190"/>
                <a:gd name="connsiteY342" fmla="*/ 2320474 h 3126924"/>
                <a:gd name="connsiteX343" fmla="*/ 196900 w 3124190"/>
                <a:gd name="connsiteY343" fmla="*/ 2320474 h 3126924"/>
                <a:gd name="connsiteX344" fmla="*/ 200119 w 3124190"/>
                <a:gd name="connsiteY344" fmla="*/ 2266996 h 3126924"/>
                <a:gd name="connsiteX345" fmla="*/ 306932 w 3124190"/>
                <a:gd name="connsiteY345" fmla="*/ 2063357 h 3126924"/>
                <a:gd name="connsiteX346" fmla="*/ 700704 w 3124190"/>
                <a:gd name="connsiteY346" fmla="*/ 2267919 h 3126924"/>
                <a:gd name="connsiteX347" fmla="*/ 534731 w 3124190"/>
                <a:gd name="connsiteY347" fmla="*/ 2506749 h 3126924"/>
                <a:gd name="connsiteX348" fmla="*/ 504340 w 3124190"/>
                <a:gd name="connsiteY348" fmla="*/ 2516840 h 3126924"/>
                <a:gd name="connsiteX349" fmla="*/ 500994 w 3124190"/>
                <a:gd name="connsiteY349" fmla="*/ 2720617 h 3126924"/>
                <a:gd name="connsiteX350" fmla="*/ 450594 w 3124190"/>
                <a:gd name="connsiteY350" fmla="*/ 2722394 h 3126924"/>
                <a:gd name="connsiteX351" fmla="*/ 400194 w 3124190"/>
                <a:gd name="connsiteY351" fmla="*/ 2724172 h 3126924"/>
                <a:gd name="connsiteX352" fmla="*/ 2732737 w 3124190"/>
                <a:gd name="connsiteY352" fmla="*/ 1102498 h 3126924"/>
                <a:gd name="connsiteX353" fmla="*/ 2638415 w 3124190"/>
                <a:gd name="connsiteY353" fmla="*/ 886367 h 3126924"/>
                <a:gd name="connsiteX354" fmla="*/ 2707754 w 3124190"/>
                <a:gd name="connsiteY354" fmla="*/ 821181 h 3126924"/>
                <a:gd name="connsiteX355" fmla="*/ 2913968 w 3124190"/>
                <a:gd name="connsiteY355" fmla="*/ 908950 h 3126924"/>
                <a:gd name="connsiteX356" fmla="*/ 2732737 w 3124190"/>
                <a:gd name="connsiteY356" fmla="*/ 1102498 h 3126924"/>
                <a:gd name="connsiteX357" fmla="*/ 2803253 w 3124190"/>
                <a:gd name="connsiteY357" fmla="*/ 994271 h 3126924"/>
                <a:gd name="connsiteX358" fmla="*/ 2819347 w 3124190"/>
                <a:gd name="connsiteY358" fmla="*/ 959542 h 3126924"/>
                <a:gd name="connsiteX359" fmla="*/ 2736593 w 3124190"/>
                <a:gd name="connsiteY359" fmla="*/ 924190 h 3126924"/>
                <a:gd name="connsiteX360" fmla="*/ 2803253 w 3124190"/>
                <a:gd name="connsiteY360" fmla="*/ 994271 h 3126924"/>
                <a:gd name="connsiteX361" fmla="*/ 2721608 w 3124190"/>
                <a:gd name="connsiteY361" fmla="*/ 554828 h 3126924"/>
                <a:gd name="connsiteX362" fmla="*/ 2721608 w 3124190"/>
                <a:gd name="connsiteY362" fmla="*/ 402105 h 3126924"/>
                <a:gd name="connsiteX363" fmla="*/ 2762846 w 3124190"/>
                <a:gd name="connsiteY363" fmla="*/ 402035 h 3126924"/>
                <a:gd name="connsiteX364" fmla="*/ 2921311 w 3124190"/>
                <a:gd name="connsiteY364" fmla="*/ 267485 h 3126924"/>
                <a:gd name="connsiteX365" fmla="*/ 2882659 w 3124190"/>
                <a:gd name="connsiteY365" fmla="*/ 151961 h 3126924"/>
                <a:gd name="connsiteX366" fmla="*/ 2770212 w 3124190"/>
                <a:gd name="connsiteY366" fmla="*/ 101530 h 3126924"/>
                <a:gd name="connsiteX367" fmla="*/ 2619597 w 3124190"/>
                <a:gd name="connsiteY367" fmla="*/ 254992 h 3126924"/>
                <a:gd name="connsiteX368" fmla="*/ 2615972 w 3124190"/>
                <a:gd name="connsiteY368" fmla="*/ 298218 h 3126924"/>
                <a:gd name="connsiteX369" fmla="*/ 2518303 w 3124190"/>
                <a:gd name="connsiteY369" fmla="*/ 298218 h 3126924"/>
                <a:gd name="connsiteX370" fmla="*/ 2521466 w 3124190"/>
                <a:gd name="connsiteY370" fmla="*/ 242870 h 3126924"/>
                <a:gd name="connsiteX371" fmla="*/ 2546611 w 3124190"/>
                <a:gd name="connsiteY371" fmla="*/ 143025 h 3126924"/>
                <a:gd name="connsiteX372" fmla="*/ 2998523 w 3124190"/>
                <a:gd name="connsiteY372" fmla="*/ 144248 h 3126924"/>
                <a:gd name="connsiteX373" fmla="*/ 3017803 w 3124190"/>
                <a:gd name="connsiteY373" fmla="*/ 252406 h 3126924"/>
                <a:gd name="connsiteX374" fmla="*/ 3001409 w 3124190"/>
                <a:gd name="connsiteY374" fmla="*/ 354560 h 3126924"/>
                <a:gd name="connsiteX375" fmla="*/ 2848163 w 3124190"/>
                <a:gd name="connsiteY375" fmla="*/ 490520 h 3126924"/>
                <a:gd name="connsiteX376" fmla="*/ 2822417 w 3124190"/>
                <a:gd name="connsiteY376" fmla="*/ 498116 h 3126924"/>
                <a:gd name="connsiteX377" fmla="*/ 2820732 w 3124190"/>
                <a:gd name="connsiteY377" fmla="*/ 602834 h 3126924"/>
                <a:gd name="connsiteX378" fmla="*/ 2819070 w 3124190"/>
                <a:gd name="connsiteY378" fmla="*/ 707551 h 3126924"/>
                <a:gd name="connsiteX379" fmla="*/ 2721608 w 3124190"/>
                <a:gd name="connsiteY379" fmla="*/ 707551 h 31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3124190" h="3126924">
                  <a:moveTo>
                    <a:pt x="412334" y="3121590"/>
                  </a:moveTo>
                  <a:cubicBezTo>
                    <a:pt x="366997" y="3106720"/>
                    <a:pt x="328061" y="3072753"/>
                    <a:pt x="311882" y="3033960"/>
                  </a:cubicBezTo>
                  <a:cubicBezTo>
                    <a:pt x="291693" y="2985562"/>
                    <a:pt x="305276" y="2909592"/>
                    <a:pt x="340971" y="2871262"/>
                  </a:cubicBezTo>
                  <a:cubicBezTo>
                    <a:pt x="394973" y="2813280"/>
                    <a:pt x="501269" y="2812796"/>
                    <a:pt x="557183" y="2870292"/>
                  </a:cubicBezTo>
                  <a:cubicBezTo>
                    <a:pt x="646593" y="2962217"/>
                    <a:pt x="589453" y="3115956"/>
                    <a:pt x="462776" y="3124315"/>
                  </a:cubicBezTo>
                  <a:cubicBezTo>
                    <a:pt x="443455" y="3125585"/>
                    <a:pt x="420755" y="3124361"/>
                    <a:pt x="412334" y="3121613"/>
                  </a:cubicBezTo>
                  <a:close/>
                  <a:moveTo>
                    <a:pt x="495464" y="2995052"/>
                  </a:moveTo>
                  <a:cubicBezTo>
                    <a:pt x="520420" y="2935316"/>
                    <a:pt x="437710" y="2896777"/>
                    <a:pt x="407261" y="2953950"/>
                  </a:cubicBezTo>
                  <a:cubicBezTo>
                    <a:pt x="396952" y="2973300"/>
                    <a:pt x="398492" y="2988771"/>
                    <a:pt x="412493" y="3006574"/>
                  </a:cubicBezTo>
                  <a:cubicBezTo>
                    <a:pt x="435509" y="3035831"/>
                    <a:pt x="481068" y="3029504"/>
                    <a:pt x="495462" y="2995052"/>
                  </a:cubicBezTo>
                  <a:close/>
                  <a:moveTo>
                    <a:pt x="908747" y="2997107"/>
                  </a:moveTo>
                  <a:cubicBezTo>
                    <a:pt x="911802" y="2852766"/>
                    <a:pt x="919618" y="2809956"/>
                    <a:pt x="960237" y="2715052"/>
                  </a:cubicBezTo>
                  <a:cubicBezTo>
                    <a:pt x="1006574" y="2606802"/>
                    <a:pt x="1100949" y="2494534"/>
                    <a:pt x="1199701" y="2430202"/>
                  </a:cubicBezTo>
                  <a:lnTo>
                    <a:pt x="1249249" y="2397921"/>
                  </a:lnTo>
                  <a:lnTo>
                    <a:pt x="1207602" y="2381203"/>
                  </a:lnTo>
                  <a:cubicBezTo>
                    <a:pt x="1056690" y="2320567"/>
                    <a:pt x="936806" y="2195460"/>
                    <a:pt x="885755" y="2045346"/>
                  </a:cubicBezTo>
                  <a:cubicBezTo>
                    <a:pt x="878239" y="2023248"/>
                    <a:pt x="868557" y="1985379"/>
                    <a:pt x="864237" y="1961226"/>
                  </a:cubicBezTo>
                  <a:lnTo>
                    <a:pt x="856384" y="1917261"/>
                  </a:lnTo>
                  <a:lnTo>
                    <a:pt x="824597" y="1917261"/>
                  </a:lnTo>
                  <a:cubicBezTo>
                    <a:pt x="710725" y="1917261"/>
                    <a:pt x="621398" y="1863020"/>
                    <a:pt x="575389" y="1765900"/>
                  </a:cubicBezTo>
                  <a:cubicBezTo>
                    <a:pt x="557527" y="1728192"/>
                    <a:pt x="555932" y="1719764"/>
                    <a:pt x="555932" y="1663330"/>
                  </a:cubicBezTo>
                  <a:cubicBezTo>
                    <a:pt x="555932" y="1604979"/>
                    <a:pt x="557054" y="1599599"/>
                    <a:pt x="578010" y="1557366"/>
                  </a:cubicBezTo>
                  <a:lnTo>
                    <a:pt x="600088" y="1512893"/>
                  </a:lnTo>
                  <a:lnTo>
                    <a:pt x="585625" y="1467358"/>
                  </a:lnTo>
                  <a:cubicBezTo>
                    <a:pt x="565204" y="1403049"/>
                    <a:pt x="552877" y="1325972"/>
                    <a:pt x="552877" y="1262610"/>
                  </a:cubicBezTo>
                  <a:lnTo>
                    <a:pt x="552877" y="1208300"/>
                  </a:lnTo>
                  <a:lnTo>
                    <a:pt x="329892" y="1211626"/>
                  </a:lnTo>
                  <a:lnTo>
                    <a:pt x="293237" y="1282953"/>
                  </a:lnTo>
                  <a:cubicBezTo>
                    <a:pt x="250535" y="1366058"/>
                    <a:pt x="238810" y="1380051"/>
                    <a:pt x="196822" y="1398131"/>
                  </a:cubicBezTo>
                  <a:cubicBezTo>
                    <a:pt x="131665" y="1426163"/>
                    <a:pt x="56524" y="1401756"/>
                    <a:pt x="18488" y="1340242"/>
                  </a:cubicBezTo>
                  <a:lnTo>
                    <a:pt x="0" y="1310339"/>
                  </a:lnTo>
                  <a:lnTo>
                    <a:pt x="0" y="105825"/>
                  </a:lnTo>
                  <a:lnTo>
                    <a:pt x="17209" y="76546"/>
                  </a:lnTo>
                  <a:cubicBezTo>
                    <a:pt x="36784" y="43226"/>
                    <a:pt x="73587" y="13992"/>
                    <a:pt x="107360" y="4895"/>
                  </a:cubicBezTo>
                  <a:cubicBezTo>
                    <a:pt x="122436" y="831"/>
                    <a:pt x="366866" y="-740"/>
                    <a:pt x="816608" y="323"/>
                  </a:cubicBezTo>
                  <a:lnTo>
                    <a:pt x="1502858" y="1962"/>
                  </a:lnTo>
                  <a:lnTo>
                    <a:pt x="1527293" y="15147"/>
                  </a:lnTo>
                  <a:cubicBezTo>
                    <a:pt x="1559284" y="32419"/>
                    <a:pt x="1581711" y="56641"/>
                    <a:pt x="1597055" y="90539"/>
                  </a:cubicBezTo>
                  <a:cubicBezTo>
                    <a:pt x="1608819" y="116539"/>
                    <a:pt x="1609507" y="129955"/>
                    <a:pt x="1609632" y="336434"/>
                  </a:cubicBezTo>
                  <a:lnTo>
                    <a:pt x="1609765" y="554851"/>
                  </a:lnTo>
                  <a:lnTo>
                    <a:pt x="1767803" y="554851"/>
                  </a:lnTo>
                  <a:cubicBezTo>
                    <a:pt x="1880945" y="554851"/>
                    <a:pt x="1941253" y="557483"/>
                    <a:pt x="1980097" y="564110"/>
                  </a:cubicBezTo>
                  <a:cubicBezTo>
                    <a:pt x="2280779" y="615349"/>
                    <a:pt x="2509621" y="845958"/>
                    <a:pt x="2560257" y="1148703"/>
                  </a:cubicBezTo>
                  <a:cubicBezTo>
                    <a:pt x="2577689" y="1252982"/>
                    <a:pt x="2565614" y="1387740"/>
                    <a:pt x="2529848" y="1488070"/>
                  </a:cubicBezTo>
                  <a:lnTo>
                    <a:pt x="2520589" y="1514024"/>
                  </a:lnTo>
                  <a:lnTo>
                    <a:pt x="2763146" y="1514163"/>
                  </a:lnTo>
                  <a:cubicBezTo>
                    <a:pt x="2993951" y="1514301"/>
                    <a:pt x="3007043" y="1514901"/>
                    <a:pt x="3033204" y="1526747"/>
                  </a:cubicBezTo>
                  <a:cubicBezTo>
                    <a:pt x="3067099" y="1542080"/>
                    <a:pt x="3091321" y="1564524"/>
                    <a:pt x="3108592" y="1596505"/>
                  </a:cubicBezTo>
                  <a:cubicBezTo>
                    <a:pt x="3121753" y="1620889"/>
                    <a:pt x="3121776" y="1622251"/>
                    <a:pt x="3123462" y="2106167"/>
                  </a:cubicBezTo>
                  <a:cubicBezTo>
                    <a:pt x="3125332" y="2654900"/>
                    <a:pt x="3127294" y="2629939"/>
                    <a:pt x="3078760" y="2678453"/>
                  </a:cubicBezTo>
                  <a:cubicBezTo>
                    <a:pt x="3037937" y="2719278"/>
                    <a:pt x="3015055" y="2723664"/>
                    <a:pt x="2841167" y="2723919"/>
                  </a:cubicBezTo>
                  <a:lnTo>
                    <a:pt x="2694131" y="2724127"/>
                  </a:lnTo>
                  <a:lnTo>
                    <a:pt x="2648321" y="2786495"/>
                  </a:lnTo>
                  <a:cubicBezTo>
                    <a:pt x="2623107" y="2820785"/>
                    <a:pt x="2593067" y="2859370"/>
                    <a:pt x="2581522" y="2872255"/>
                  </a:cubicBezTo>
                  <a:cubicBezTo>
                    <a:pt x="2511745" y="2950163"/>
                    <a:pt x="2391886" y="2938364"/>
                    <a:pt x="2339149" y="2848378"/>
                  </a:cubicBezTo>
                  <a:cubicBezTo>
                    <a:pt x="2325873" y="2825726"/>
                    <a:pt x="2321855" y="2809886"/>
                    <a:pt x="2319639" y="2771763"/>
                  </a:cubicBezTo>
                  <a:lnTo>
                    <a:pt x="2316845" y="2723711"/>
                  </a:lnTo>
                  <a:lnTo>
                    <a:pt x="2166415" y="2723711"/>
                  </a:lnTo>
                  <a:lnTo>
                    <a:pt x="2181262" y="2767330"/>
                  </a:lnTo>
                  <a:cubicBezTo>
                    <a:pt x="2207007" y="2843045"/>
                    <a:pt x="2214580" y="2899802"/>
                    <a:pt x="2214580" y="3017635"/>
                  </a:cubicBezTo>
                  <a:lnTo>
                    <a:pt x="2214580" y="3126924"/>
                  </a:lnTo>
                  <a:lnTo>
                    <a:pt x="906004" y="3126924"/>
                  </a:lnTo>
                  <a:close/>
                  <a:moveTo>
                    <a:pt x="1432607" y="3024747"/>
                  </a:moveTo>
                  <a:cubicBezTo>
                    <a:pt x="1432607" y="3022323"/>
                    <a:pt x="1414740" y="3002326"/>
                    <a:pt x="1392902" y="2980320"/>
                  </a:cubicBezTo>
                  <a:lnTo>
                    <a:pt x="1353197" y="2940304"/>
                  </a:lnTo>
                  <a:lnTo>
                    <a:pt x="1386398" y="2824480"/>
                  </a:lnTo>
                  <a:cubicBezTo>
                    <a:pt x="1404659" y="2760772"/>
                    <a:pt x="1418843" y="2707917"/>
                    <a:pt x="1417920" y="2706993"/>
                  </a:cubicBezTo>
                  <a:cubicBezTo>
                    <a:pt x="1416996" y="2706069"/>
                    <a:pt x="1391745" y="2723688"/>
                    <a:pt x="1361805" y="2746132"/>
                  </a:cubicBezTo>
                  <a:cubicBezTo>
                    <a:pt x="1331864" y="2768600"/>
                    <a:pt x="1298878" y="2793353"/>
                    <a:pt x="1288502" y="2801135"/>
                  </a:cubicBezTo>
                  <a:lnTo>
                    <a:pt x="1269635" y="2815289"/>
                  </a:lnTo>
                  <a:lnTo>
                    <a:pt x="1252383" y="2674804"/>
                  </a:lnTo>
                  <a:cubicBezTo>
                    <a:pt x="1242895" y="2597542"/>
                    <a:pt x="1233128" y="2534319"/>
                    <a:pt x="1230678" y="2534319"/>
                  </a:cubicBezTo>
                  <a:cubicBezTo>
                    <a:pt x="1221692" y="2534319"/>
                    <a:pt x="1168534" y="2582279"/>
                    <a:pt x="1138652" y="2617377"/>
                  </a:cubicBezTo>
                  <a:cubicBezTo>
                    <a:pt x="1058999" y="2710872"/>
                    <a:pt x="1015290" y="2820646"/>
                    <a:pt x="1007156" y="2947623"/>
                  </a:cubicBezTo>
                  <a:cubicBezTo>
                    <a:pt x="1004971" y="2981706"/>
                    <a:pt x="1004872" y="3014009"/>
                    <a:pt x="1006936" y="3019390"/>
                  </a:cubicBezTo>
                  <a:cubicBezTo>
                    <a:pt x="1010277" y="3028119"/>
                    <a:pt x="1033845" y="3029181"/>
                    <a:pt x="1221648" y="3029181"/>
                  </a:cubicBezTo>
                  <a:cubicBezTo>
                    <a:pt x="1337674" y="3029181"/>
                    <a:pt x="1432605" y="3027195"/>
                    <a:pt x="1432605" y="3024747"/>
                  </a:cubicBezTo>
                  <a:close/>
                  <a:moveTo>
                    <a:pt x="2113355" y="2965034"/>
                  </a:moveTo>
                  <a:cubicBezTo>
                    <a:pt x="2112616" y="2859878"/>
                    <a:pt x="2081191" y="2757562"/>
                    <a:pt x="2022559" y="2669331"/>
                  </a:cubicBezTo>
                  <a:cubicBezTo>
                    <a:pt x="1992912" y="2624743"/>
                    <a:pt x="1906822" y="2534319"/>
                    <a:pt x="1894009" y="2534319"/>
                  </a:cubicBezTo>
                  <a:cubicBezTo>
                    <a:pt x="1889020" y="2534319"/>
                    <a:pt x="1881167" y="2579185"/>
                    <a:pt x="1869426" y="2674804"/>
                  </a:cubicBezTo>
                  <a:lnTo>
                    <a:pt x="1852173" y="2815289"/>
                  </a:lnTo>
                  <a:lnTo>
                    <a:pt x="1833306" y="2801135"/>
                  </a:lnTo>
                  <a:cubicBezTo>
                    <a:pt x="1822930" y="2793353"/>
                    <a:pt x="1789944" y="2768600"/>
                    <a:pt x="1760004" y="2746132"/>
                  </a:cubicBezTo>
                  <a:cubicBezTo>
                    <a:pt x="1730063" y="2723688"/>
                    <a:pt x="1704812" y="2706069"/>
                    <a:pt x="1703888" y="2706993"/>
                  </a:cubicBezTo>
                  <a:cubicBezTo>
                    <a:pt x="1702965" y="2707917"/>
                    <a:pt x="1717151" y="2760772"/>
                    <a:pt x="1735411" y="2824480"/>
                  </a:cubicBezTo>
                  <a:lnTo>
                    <a:pt x="1768611" y="2940304"/>
                  </a:lnTo>
                  <a:lnTo>
                    <a:pt x="1728906" y="2980320"/>
                  </a:lnTo>
                  <a:cubicBezTo>
                    <a:pt x="1707068" y="3002326"/>
                    <a:pt x="1689201" y="3022346"/>
                    <a:pt x="1689201" y="3024840"/>
                  </a:cubicBezTo>
                  <a:cubicBezTo>
                    <a:pt x="1689201" y="3027310"/>
                    <a:pt x="1784733" y="3028626"/>
                    <a:pt x="1901495" y="3027726"/>
                  </a:cubicBezTo>
                  <a:lnTo>
                    <a:pt x="2113794" y="3026133"/>
                  </a:lnTo>
                  <a:close/>
                  <a:moveTo>
                    <a:pt x="1608412" y="2960300"/>
                  </a:moveTo>
                  <a:cubicBezTo>
                    <a:pt x="1632689" y="2935870"/>
                    <a:pt x="1652551" y="2911740"/>
                    <a:pt x="1652551" y="2906706"/>
                  </a:cubicBezTo>
                  <a:cubicBezTo>
                    <a:pt x="1652551" y="2901649"/>
                    <a:pt x="1640018" y="2853597"/>
                    <a:pt x="1624700" y="2799934"/>
                  </a:cubicBezTo>
                  <a:cubicBezTo>
                    <a:pt x="1572007" y="2615276"/>
                    <a:pt x="1573628" y="2619848"/>
                    <a:pt x="1560914" y="2619848"/>
                  </a:cubicBezTo>
                  <a:cubicBezTo>
                    <a:pt x="1548201" y="2619848"/>
                    <a:pt x="1549822" y="2615276"/>
                    <a:pt x="1497129" y="2799934"/>
                  </a:cubicBezTo>
                  <a:cubicBezTo>
                    <a:pt x="1481811" y="2853597"/>
                    <a:pt x="1469278" y="2901649"/>
                    <a:pt x="1469278" y="2906706"/>
                  </a:cubicBezTo>
                  <a:cubicBezTo>
                    <a:pt x="1469278" y="2915065"/>
                    <a:pt x="1553096" y="3004750"/>
                    <a:pt x="1560917" y="3004750"/>
                  </a:cubicBezTo>
                  <a:cubicBezTo>
                    <a:pt x="1562764" y="3004750"/>
                    <a:pt x="1584141" y="2984753"/>
                    <a:pt x="1608415" y="2960300"/>
                  </a:cubicBezTo>
                  <a:close/>
                  <a:moveTo>
                    <a:pt x="2492534" y="2817575"/>
                  </a:moveTo>
                  <a:cubicBezTo>
                    <a:pt x="2498122" y="2815428"/>
                    <a:pt x="2535528" y="2770054"/>
                    <a:pt x="2575657" y="2716761"/>
                  </a:cubicBezTo>
                  <a:lnTo>
                    <a:pt x="2648621" y="2619848"/>
                  </a:lnTo>
                  <a:lnTo>
                    <a:pt x="2819924" y="2619848"/>
                  </a:lnTo>
                  <a:cubicBezTo>
                    <a:pt x="2923781" y="2619848"/>
                    <a:pt x="2995798" y="2617423"/>
                    <a:pt x="3002795" y="2613660"/>
                  </a:cubicBezTo>
                  <a:cubicBezTo>
                    <a:pt x="3009144" y="2610265"/>
                    <a:pt x="3017202" y="2597219"/>
                    <a:pt x="3020689" y="2584657"/>
                  </a:cubicBezTo>
                  <a:cubicBezTo>
                    <a:pt x="3024799" y="2569833"/>
                    <a:pt x="3027039" y="2404710"/>
                    <a:pt x="3027062" y="2114111"/>
                  </a:cubicBezTo>
                  <a:cubicBezTo>
                    <a:pt x="3027108" y="1626084"/>
                    <a:pt x="3027431" y="1630818"/>
                    <a:pt x="2993189" y="1617795"/>
                  </a:cubicBezTo>
                  <a:cubicBezTo>
                    <a:pt x="2983168" y="1613985"/>
                    <a:pt x="2899168" y="1612253"/>
                    <a:pt x="2772798" y="1613246"/>
                  </a:cubicBezTo>
                  <a:lnTo>
                    <a:pt x="2568615" y="1614839"/>
                  </a:lnTo>
                  <a:lnTo>
                    <a:pt x="2566953" y="1669911"/>
                  </a:lnTo>
                  <a:cubicBezTo>
                    <a:pt x="2565567" y="1716832"/>
                    <a:pt x="2562473" y="1731056"/>
                    <a:pt x="2546126" y="1765969"/>
                  </a:cubicBezTo>
                  <a:cubicBezTo>
                    <a:pt x="2500847" y="1862743"/>
                    <a:pt x="2411120" y="1917261"/>
                    <a:pt x="2297195" y="1917261"/>
                  </a:cubicBezTo>
                  <a:lnTo>
                    <a:pt x="2265401" y="1917261"/>
                  </a:lnTo>
                  <a:lnTo>
                    <a:pt x="2257550" y="1961226"/>
                  </a:lnTo>
                  <a:cubicBezTo>
                    <a:pt x="2224070" y="2148655"/>
                    <a:pt x="2096823" y="2306343"/>
                    <a:pt x="1921001" y="2378317"/>
                  </a:cubicBezTo>
                  <a:lnTo>
                    <a:pt x="1873570" y="2397713"/>
                  </a:lnTo>
                  <a:lnTo>
                    <a:pt x="1920369" y="2428863"/>
                  </a:lnTo>
                  <a:cubicBezTo>
                    <a:pt x="1983621" y="2470935"/>
                    <a:pt x="2027537" y="2511413"/>
                    <a:pt x="2074010" y="2570410"/>
                  </a:cubicBezTo>
                  <a:lnTo>
                    <a:pt x="2112939" y="2619848"/>
                  </a:lnTo>
                  <a:lnTo>
                    <a:pt x="2416177" y="2619848"/>
                  </a:lnTo>
                  <a:lnTo>
                    <a:pt x="2416177" y="2699580"/>
                  </a:lnTo>
                  <a:cubicBezTo>
                    <a:pt x="2416177" y="2779937"/>
                    <a:pt x="2422688" y="2809586"/>
                    <a:pt x="2442014" y="2817368"/>
                  </a:cubicBezTo>
                  <a:cubicBezTo>
                    <a:pt x="2453397" y="2821939"/>
                    <a:pt x="2480851" y="2822055"/>
                    <a:pt x="2492534" y="2817552"/>
                  </a:cubicBezTo>
                  <a:close/>
                  <a:moveTo>
                    <a:pt x="2617750" y="2519010"/>
                  </a:moveTo>
                  <a:lnTo>
                    <a:pt x="2584524" y="2485367"/>
                  </a:lnTo>
                  <a:lnTo>
                    <a:pt x="2700019" y="2369358"/>
                  </a:lnTo>
                  <a:lnTo>
                    <a:pt x="2584386" y="2253234"/>
                  </a:lnTo>
                  <a:lnTo>
                    <a:pt x="2654394" y="2183222"/>
                  </a:lnTo>
                  <a:lnTo>
                    <a:pt x="2770512" y="2298861"/>
                  </a:lnTo>
                  <a:lnTo>
                    <a:pt x="2886653" y="2183222"/>
                  </a:lnTo>
                  <a:lnTo>
                    <a:pt x="2956661" y="2253234"/>
                  </a:lnTo>
                  <a:lnTo>
                    <a:pt x="2841005" y="2369358"/>
                  </a:lnTo>
                  <a:lnTo>
                    <a:pt x="2956661" y="2485505"/>
                  </a:lnTo>
                  <a:lnTo>
                    <a:pt x="2886653" y="2555517"/>
                  </a:lnTo>
                  <a:lnTo>
                    <a:pt x="2770512" y="2439854"/>
                  </a:lnTo>
                  <a:lnTo>
                    <a:pt x="2713896" y="2496265"/>
                  </a:lnTo>
                  <a:cubicBezTo>
                    <a:pt x="2682748" y="2527277"/>
                    <a:pt x="2655848" y="2552654"/>
                    <a:pt x="2654116" y="2552654"/>
                  </a:cubicBezTo>
                  <a:cubicBezTo>
                    <a:pt x="2652385" y="2552654"/>
                    <a:pt x="2636014" y="2537506"/>
                    <a:pt x="2617750" y="2519010"/>
                  </a:cubicBezTo>
                  <a:close/>
                  <a:moveTo>
                    <a:pt x="2215873" y="2471697"/>
                  </a:moveTo>
                  <a:lnTo>
                    <a:pt x="2217651" y="2421290"/>
                  </a:lnTo>
                  <a:lnTo>
                    <a:pt x="2520057" y="2418033"/>
                  </a:lnTo>
                  <a:lnTo>
                    <a:pt x="2520057" y="2522104"/>
                  </a:lnTo>
                  <a:lnTo>
                    <a:pt x="2214095" y="2522104"/>
                  </a:lnTo>
                  <a:close/>
                  <a:moveTo>
                    <a:pt x="2215873" y="2270090"/>
                  </a:moveTo>
                  <a:lnTo>
                    <a:pt x="2217651" y="2219682"/>
                  </a:lnTo>
                  <a:lnTo>
                    <a:pt x="2520057" y="2216403"/>
                  </a:lnTo>
                  <a:lnTo>
                    <a:pt x="2520057" y="2320497"/>
                  </a:lnTo>
                  <a:lnTo>
                    <a:pt x="2214095" y="2320497"/>
                  </a:lnTo>
                  <a:close/>
                  <a:moveTo>
                    <a:pt x="2622253" y="2016436"/>
                  </a:moveTo>
                  <a:lnTo>
                    <a:pt x="2587295" y="1981107"/>
                  </a:lnTo>
                  <a:lnTo>
                    <a:pt x="2642248" y="1926405"/>
                  </a:lnTo>
                  <a:cubicBezTo>
                    <a:pt x="2672496" y="1896317"/>
                    <a:pt x="2697225" y="1868839"/>
                    <a:pt x="2697225" y="1865329"/>
                  </a:cubicBezTo>
                  <a:cubicBezTo>
                    <a:pt x="2697225" y="1861843"/>
                    <a:pt x="2672496" y="1834364"/>
                    <a:pt x="2642248" y="1804254"/>
                  </a:cubicBezTo>
                  <a:lnTo>
                    <a:pt x="2587295" y="1749551"/>
                  </a:lnTo>
                  <a:lnTo>
                    <a:pt x="2657211" y="1678917"/>
                  </a:lnTo>
                  <a:lnTo>
                    <a:pt x="2773814" y="1795087"/>
                  </a:lnTo>
                  <a:lnTo>
                    <a:pt x="2889332" y="1679078"/>
                  </a:lnTo>
                  <a:lnTo>
                    <a:pt x="2921565" y="1710897"/>
                  </a:lnTo>
                  <a:cubicBezTo>
                    <a:pt x="2939298" y="1728400"/>
                    <a:pt x="2953798" y="1745626"/>
                    <a:pt x="2953798" y="1749182"/>
                  </a:cubicBezTo>
                  <a:cubicBezTo>
                    <a:pt x="2953798" y="1752715"/>
                    <a:pt x="2929046" y="1780262"/>
                    <a:pt x="2898799" y="1810350"/>
                  </a:cubicBezTo>
                  <a:lnTo>
                    <a:pt x="2843822" y="1865098"/>
                  </a:lnTo>
                  <a:lnTo>
                    <a:pt x="2959986" y="1981707"/>
                  </a:lnTo>
                  <a:lnTo>
                    <a:pt x="2889355" y="2051627"/>
                  </a:lnTo>
                  <a:lnTo>
                    <a:pt x="2834655" y="1996671"/>
                  </a:lnTo>
                  <a:cubicBezTo>
                    <a:pt x="2804569" y="1966444"/>
                    <a:pt x="2777185" y="1941714"/>
                    <a:pt x="2773814" y="1941714"/>
                  </a:cubicBezTo>
                  <a:cubicBezTo>
                    <a:pt x="2770443" y="1941714"/>
                    <a:pt x="2742827" y="1966467"/>
                    <a:pt x="2712441" y="1996717"/>
                  </a:cubicBezTo>
                  <a:lnTo>
                    <a:pt x="2657187" y="2051742"/>
                  </a:lnTo>
                  <a:close/>
                  <a:moveTo>
                    <a:pt x="1399739" y="2592416"/>
                  </a:moveTo>
                  <a:lnTo>
                    <a:pt x="1444323" y="2558865"/>
                  </a:lnTo>
                  <a:lnTo>
                    <a:pt x="1413263" y="2506888"/>
                  </a:lnTo>
                  <a:cubicBezTo>
                    <a:pt x="1396178" y="2478301"/>
                    <a:pt x="1379709" y="2454910"/>
                    <a:pt x="1376663" y="2454910"/>
                  </a:cubicBezTo>
                  <a:cubicBezTo>
                    <a:pt x="1363114" y="2454910"/>
                    <a:pt x="1328773" y="2473359"/>
                    <a:pt x="1328946" y="2480564"/>
                  </a:cubicBezTo>
                  <a:cubicBezTo>
                    <a:pt x="1329052" y="2484928"/>
                    <a:pt x="1333088" y="2517370"/>
                    <a:pt x="1337916" y="2552654"/>
                  </a:cubicBezTo>
                  <a:cubicBezTo>
                    <a:pt x="1342744" y="2587936"/>
                    <a:pt x="1346780" y="2618878"/>
                    <a:pt x="1346887" y="2621395"/>
                  </a:cubicBezTo>
                  <a:cubicBezTo>
                    <a:pt x="1347258" y="2630215"/>
                    <a:pt x="1355522" y="2625690"/>
                    <a:pt x="1399739" y="2592416"/>
                  </a:cubicBezTo>
                  <a:close/>
                  <a:moveTo>
                    <a:pt x="1774924" y="2621395"/>
                  </a:moveTo>
                  <a:cubicBezTo>
                    <a:pt x="1775030" y="2618878"/>
                    <a:pt x="1779066" y="2587936"/>
                    <a:pt x="1783894" y="2552654"/>
                  </a:cubicBezTo>
                  <a:cubicBezTo>
                    <a:pt x="1788720" y="2517370"/>
                    <a:pt x="1792758" y="2485136"/>
                    <a:pt x="1792865" y="2481025"/>
                  </a:cubicBezTo>
                  <a:cubicBezTo>
                    <a:pt x="1793075" y="2472897"/>
                    <a:pt x="1762379" y="2454910"/>
                    <a:pt x="1748311" y="2454910"/>
                  </a:cubicBezTo>
                  <a:cubicBezTo>
                    <a:pt x="1743524" y="2454910"/>
                    <a:pt x="1725644" y="2478278"/>
                    <a:pt x="1708573" y="2506841"/>
                  </a:cubicBezTo>
                  <a:lnTo>
                    <a:pt x="1677536" y="2558772"/>
                  </a:lnTo>
                  <a:lnTo>
                    <a:pt x="1721552" y="2592254"/>
                  </a:lnTo>
                  <a:cubicBezTo>
                    <a:pt x="1764838" y="2625182"/>
                    <a:pt x="1774541" y="2630493"/>
                    <a:pt x="1774926" y="2621395"/>
                  </a:cubicBezTo>
                  <a:close/>
                  <a:moveTo>
                    <a:pt x="1610858" y="2474768"/>
                  </a:moveTo>
                  <a:lnTo>
                    <a:pt x="1639353" y="2427408"/>
                  </a:lnTo>
                  <a:lnTo>
                    <a:pt x="1600132" y="2422860"/>
                  </a:lnTo>
                  <a:cubicBezTo>
                    <a:pt x="1578560" y="2420342"/>
                    <a:pt x="1543262" y="2420342"/>
                    <a:pt x="1521690" y="2422860"/>
                  </a:cubicBezTo>
                  <a:lnTo>
                    <a:pt x="1482469" y="2427408"/>
                  </a:lnTo>
                  <a:lnTo>
                    <a:pt x="1510964" y="2474768"/>
                  </a:lnTo>
                  <a:cubicBezTo>
                    <a:pt x="1537841" y="2519426"/>
                    <a:pt x="1540676" y="2522104"/>
                    <a:pt x="1560912" y="2522104"/>
                  </a:cubicBezTo>
                  <a:cubicBezTo>
                    <a:pt x="1581148" y="2522104"/>
                    <a:pt x="1583983" y="2519426"/>
                    <a:pt x="1610860" y="2474768"/>
                  </a:cubicBezTo>
                  <a:close/>
                  <a:moveTo>
                    <a:pt x="1826659" y="2306297"/>
                  </a:moveTo>
                  <a:cubicBezTo>
                    <a:pt x="1980187" y="2262863"/>
                    <a:pt x="2095807" y="2150363"/>
                    <a:pt x="2148013" y="1993622"/>
                  </a:cubicBezTo>
                  <a:cubicBezTo>
                    <a:pt x="2161866" y="1952059"/>
                    <a:pt x="2162328" y="1943769"/>
                    <a:pt x="2164360" y="1695957"/>
                  </a:cubicBezTo>
                  <a:cubicBezTo>
                    <a:pt x="2166715" y="1410970"/>
                    <a:pt x="2167039" y="1413556"/>
                    <a:pt x="2124115" y="1380813"/>
                  </a:cubicBezTo>
                  <a:lnTo>
                    <a:pt x="2102549" y="1364372"/>
                  </a:lnTo>
                  <a:lnTo>
                    <a:pt x="1307382" y="1358253"/>
                  </a:lnTo>
                  <a:lnTo>
                    <a:pt x="1271674" y="1340173"/>
                  </a:lnTo>
                  <a:cubicBezTo>
                    <a:pt x="1229360" y="1318768"/>
                    <a:pt x="1187239" y="1274248"/>
                    <a:pt x="1172330" y="1235224"/>
                  </a:cubicBezTo>
                  <a:lnTo>
                    <a:pt x="1161638" y="1207215"/>
                  </a:lnTo>
                  <a:lnTo>
                    <a:pt x="1134205" y="1210979"/>
                  </a:lnTo>
                  <a:cubicBezTo>
                    <a:pt x="1068556" y="1219961"/>
                    <a:pt x="1004713" y="1265497"/>
                    <a:pt x="976144" y="1323686"/>
                  </a:cubicBezTo>
                  <a:lnTo>
                    <a:pt x="959161" y="1358253"/>
                  </a:lnTo>
                  <a:lnTo>
                    <a:pt x="957390" y="1633173"/>
                  </a:lnTo>
                  <a:cubicBezTo>
                    <a:pt x="955407" y="1941368"/>
                    <a:pt x="957852" y="1967714"/>
                    <a:pt x="996149" y="2050588"/>
                  </a:cubicBezTo>
                  <a:cubicBezTo>
                    <a:pt x="1059546" y="2187817"/>
                    <a:pt x="1176944" y="2281866"/>
                    <a:pt x="1321783" y="2311446"/>
                  </a:cubicBezTo>
                  <a:cubicBezTo>
                    <a:pt x="1385262" y="2324423"/>
                    <a:pt x="1776720" y="2320428"/>
                    <a:pt x="1826663" y="2306297"/>
                  </a:cubicBezTo>
                  <a:close/>
                  <a:moveTo>
                    <a:pt x="1312173" y="2187540"/>
                  </a:moveTo>
                  <a:cubicBezTo>
                    <a:pt x="1318288" y="2135909"/>
                    <a:pt x="1339539" y="2090581"/>
                    <a:pt x="1376178" y="2051003"/>
                  </a:cubicBezTo>
                  <a:cubicBezTo>
                    <a:pt x="1478653" y="1940329"/>
                    <a:pt x="1641294" y="1939613"/>
                    <a:pt x="1743998" y="2049410"/>
                  </a:cubicBezTo>
                  <a:cubicBezTo>
                    <a:pt x="1782216" y="2090281"/>
                    <a:pt x="1803384" y="2134823"/>
                    <a:pt x="1809630" y="2187540"/>
                  </a:cubicBezTo>
                  <a:lnTo>
                    <a:pt x="1813075" y="2216635"/>
                  </a:lnTo>
                  <a:lnTo>
                    <a:pt x="1714180" y="2216635"/>
                  </a:lnTo>
                  <a:lnTo>
                    <a:pt x="1710021" y="2193728"/>
                  </a:lnTo>
                  <a:cubicBezTo>
                    <a:pt x="1703877" y="2159854"/>
                    <a:pt x="1686696" y="2129443"/>
                    <a:pt x="1660974" y="2106837"/>
                  </a:cubicBezTo>
                  <a:cubicBezTo>
                    <a:pt x="1629599" y="2079290"/>
                    <a:pt x="1604358" y="2070007"/>
                    <a:pt x="1560896" y="2070007"/>
                  </a:cubicBezTo>
                  <a:cubicBezTo>
                    <a:pt x="1517434" y="2070007"/>
                    <a:pt x="1492193" y="2079290"/>
                    <a:pt x="1460818" y="2106837"/>
                  </a:cubicBezTo>
                  <a:cubicBezTo>
                    <a:pt x="1435096" y="2129443"/>
                    <a:pt x="1417915" y="2159854"/>
                    <a:pt x="1411771" y="2193728"/>
                  </a:cubicBezTo>
                  <a:lnTo>
                    <a:pt x="1407615" y="2216635"/>
                  </a:lnTo>
                  <a:lnTo>
                    <a:pt x="1308719" y="2216635"/>
                  </a:lnTo>
                  <a:close/>
                  <a:moveTo>
                    <a:pt x="1218755" y="1759180"/>
                  </a:moveTo>
                  <a:cubicBezTo>
                    <a:pt x="1187553" y="1748951"/>
                    <a:pt x="1164478" y="1733642"/>
                    <a:pt x="1143766" y="1709442"/>
                  </a:cubicBezTo>
                  <a:cubicBezTo>
                    <a:pt x="1085601" y="1641486"/>
                    <a:pt x="1102394" y="1533929"/>
                    <a:pt x="1178518" y="1486869"/>
                  </a:cubicBezTo>
                  <a:cubicBezTo>
                    <a:pt x="1221761" y="1460130"/>
                    <a:pt x="1279167" y="1457405"/>
                    <a:pt x="1325145" y="1479896"/>
                  </a:cubicBezTo>
                  <a:cubicBezTo>
                    <a:pt x="1461534" y="1546629"/>
                    <a:pt x="1419989" y="1752115"/>
                    <a:pt x="1268109" y="1761997"/>
                  </a:cubicBezTo>
                  <a:cubicBezTo>
                    <a:pt x="1249386" y="1763221"/>
                    <a:pt x="1227176" y="1761951"/>
                    <a:pt x="1218755" y="1759203"/>
                  </a:cubicBezTo>
                  <a:close/>
                  <a:moveTo>
                    <a:pt x="1297823" y="1645873"/>
                  </a:moveTo>
                  <a:cubicBezTo>
                    <a:pt x="1301358" y="1641601"/>
                    <a:pt x="1305962" y="1629571"/>
                    <a:pt x="1308057" y="1619088"/>
                  </a:cubicBezTo>
                  <a:cubicBezTo>
                    <a:pt x="1311215" y="1603294"/>
                    <a:pt x="1308712" y="1596920"/>
                    <a:pt x="1293291" y="1581496"/>
                  </a:cubicBezTo>
                  <a:cubicBezTo>
                    <a:pt x="1281931" y="1570135"/>
                    <a:pt x="1268418" y="1562931"/>
                    <a:pt x="1258506" y="1562931"/>
                  </a:cubicBezTo>
                  <a:cubicBezTo>
                    <a:pt x="1237864" y="1562931"/>
                    <a:pt x="1206577" y="1593434"/>
                    <a:pt x="1206577" y="1613546"/>
                  </a:cubicBezTo>
                  <a:cubicBezTo>
                    <a:pt x="1206577" y="1632850"/>
                    <a:pt x="1227441" y="1659243"/>
                    <a:pt x="1244878" y="1662037"/>
                  </a:cubicBezTo>
                  <a:cubicBezTo>
                    <a:pt x="1261621" y="1664715"/>
                    <a:pt x="1289165" y="1656310"/>
                    <a:pt x="1297821" y="1645873"/>
                  </a:cubicBezTo>
                  <a:close/>
                  <a:moveTo>
                    <a:pt x="1823553" y="1759180"/>
                  </a:moveTo>
                  <a:cubicBezTo>
                    <a:pt x="1750463" y="1735212"/>
                    <a:pt x="1708578" y="1673213"/>
                    <a:pt x="1715311" y="1598976"/>
                  </a:cubicBezTo>
                  <a:cubicBezTo>
                    <a:pt x="1719716" y="1550392"/>
                    <a:pt x="1743296" y="1511623"/>
                    <a:pt x="1783567" y="1486708"/>
                  </a:cubicBezTo>
                  <a:cubicBezTo>
                    <a:pt x="1810455" y="1470082"/>
                    <a:pt x="1818499" y="1468212"/>
                    <a:pt x="1863302" y="1468212"/>
                  </a:cubicBezTo>
                  <a:cubicBezTo>
                    <a:pt x="1908106" y="1468212"/>
                    <a:pt x="1916150" y="1470082"/>
                    <a:pt x="1943038" y="1486708"/>
                  </a:cubicBezTo>
                  <a:cubicBezTo>
                    <a:pt x="2040384" y="1546906"/>
                    <a:pt x="2034002" y="1694965"/>
                    <a:pt x="1931816" y="1747081"/>
                  </a:cubicBezTo>
                  <a:cubicBezTo>
                    <a:pt x="1904806" y="1760866"/>
                    <a:pt x="1848031" y="1767216"/>
                    <a:pt x="1823553" y="1759180"/>
                  </a:cubicBezTo>
                  <a:close/>
                  <a:moveTo>
                    <a:pt x="1902622" y="1645873"/>
                  </a:moveTo>
                  <a:cubicBezTo>
                    <a:pt x="1906157" y="1641601"/>
                    <a:pt x="1910761" y="1629571"/>
                    <a:pt x="1912855" y="1619088"/>
                  </a:cubicBezTo>
                  <a:cubicBezTo>
                    <a:pt x="1916014" y="1603294"/>
                    <a:pt x="1913511" y="1596920"/>
                    <a:pt x="1898087" y="1581496"/>
                  </a:cubicBezTo>
                  <a:cubicBezTo>
                    <a:pt x="1874180" y="1557597"/>
                    <a:pt x="1852649" y="1557366"/>
                    <a:pt x="1829231" y="1580780"/>
                  </a:cubicBezTo>
                  <a:cubicBezTo>
                    <a:pt x="1809956" y="1600061"/>
                    <a:pt x="1808069" y="1608420"/>
                    <a:pt x="1817437" y="1633058"/>
                  </a:cubicBezTo>
                  <a:cubicBezTo>
                    <a:pt x="1829042" y="1663584"/>
                    <a:pt x="1881388" y="1671458"/>
                    <a:pt x="1902622" y="1645873"/>
                  </a:cubicBezTo>
                  <a:close/>
                  <a:moveTo>
                    <a:pt x="852247" y="1663723"/>
                  </a:moveTo>
                  <a:lnTo>
                    <a:pt x="852247" y="1514047"/>
                  </a:lnTo>
                  <a:lnTo>
                    <a:pt x="810179" y="1514047"/>
                  </a:lnTo>
                  <a:cubicBezTo>
                    <a:pt x="733441" y="1514047"/>
                    <a:pt x="671609" y="1561615"/>
                    <a:pt x="657025" y="1631880"/>
                  </a:cubicBezTo>
                  <a:cubicBezTo>
                    <a:pt x="636739" y="1729601"/>
                    <a:pt x="707626" y="1813398"/>
                    <a:pt x="810579" y="1813398"/>
                  </a:cubicBezTo>
                  <a:lnTo>
                    <a:pt x="852247" y="1813398"/>
                  </a:lnTo>
                  <a:close/>
                  <a:moveTo>
                    <a:pt x="2386368" y="1796357"/>
                  </a:moveTo>
                  <a:cubicBezTo>
                    <a:pt x="2495929" y="1739114"/>
                    <a:pt x="2495744" y="1586483"/>
                    <a:pt x="2386045" y="1530858"/>
                  </a:cubicBezTo>
                  <a:cubicBezTo>
                    <a:pt x="2359538" y="1517395"/>
                    <a:pt x="2344599" y="1514047"/>
                    <a:pt x="2311257" y="1514047"/>
                  </a:cubicBezTo>
                  <a:lnTo>
                    <a:pt x="2269580" y="1514047"/>
                  </a:lnTo>
                  <a:lnTo>
                    <a:pt x="2269580" y="1813421"/>
                  </a:lnTo>
                  <a:lnTo>
                    <a:pt x="2311650" y="1813421"/>
                  </a:lnTo>
                  <a:cubicBezTo>
                    <a:pt x="2345822" y="1813421"/>
                    <a:pt x="2359838" y="1810211"/>
                    <a:pt x="2386368" y="1796357"/>
                  </a:cubicBezTo>
                  <a:close/>
                  <a:moveTo>
                    <a:pt x="730079" y="1425355"/>
                  </a:moveTo>
                  <a:cubicBezTo>
                    <a:pt x="745198" y="1419790"/>
                    <a:pt x="779563" y="1413440"/>
                    <a:pt x="806444" y="1411200"/>
                  </a:cubicBezTo>
                  <a:lnTo>
                    <a:pt x="855318" y="1407113"/>
                  </a:lnTo>
                  <a:lnTo>
                    <a:pt x="859460" y="1369568"/>
                  </a:lnTo>
                  <a:cubicBezTo>
                    <a:pt x="866793" y="1303089"/>
                    <a:pt x="899876" y="1240351"/>
                    <a:pt x="954557" y="1189228"/>
                  </a:cubicBezTo>
                  <a:cubicBezTo>
                    <a:pt x="1002642" y="1144269"/>
                    <a:pt x="1080302" y="1110811"/>
                    <a:pt x="1136618" y="1110811"/>
                  </a:cubicBezTo>
                  <a:cubicBezTo>
                    <a:pt x="1161250" y="1110811"/>
                    <a:pt x="1162545" y="1109841"/>
                    <a:pt x="1172603" y="1083494"/>
                  </a:cubicBezTo>
                  <a:cubicBezTo>
                    <a:pt x="1187410" y="1044724"/>
                    <a:pt x="1231304" y="998496"/>
                    <a:pt x="1272556" y="978246"/>
                  </a:cubicBezTo>
                  <a:cubicBezTo>
                    <a:pt x="1302464" y="963560"/>
                    <a:pt x="1314741" y="961135"/>
                    <a:pt x="1359323" y="961182"/>
                  </a:cubicBezTo>
                  <a:cubicBezTo>
                    <a:pt x="1399450" y="961228"/>
                    <a:pt x="1417742" y="964230"/>
                    <a:pt x="1439816" y="974390"/>
                  </a:cubicBezTo>
                  <a:cubicBezTo>
                    <a:pt x="1501172" y="1002630"/>
                    <a:pt x="1549081" y="1065853"/>
                    <a:pt x="1558220" y="1130669"/>
                  </a:cubicBezTo>
                  <a:lnTo>
                    <a:pt x="1562314" y="1159694"/>
                  </a:lnTo>
                  <a:lnTo>
                    <a:pt x="1512555" y="1159694"/>
                  </a:lnTo>
                  <a:cubicBezTo>
                    <a:pt x="1478075" y="1159694"/>
                    <a:pt x="1462074" y="1157339"/>
                    <a:pt x="1460444" y="1152051"/>
                  </a:cubicBezTo>
                  <a:cubicBezTo>
                    <a:pt x="1459149" y="1147848"/>
                    <a:pt x="1456325" y="1136419"/>
                    <a:pt x="1454166" y="1126651"/>
                  </a:cubicBezTo>
                  <a:cubicBezTo>
                    <a:pt x="1444309" y="1082016"/>
                    <a:pt x="1382696" y="1049066"/>
                    <a:pt x="1333730" y="1062250"/>
                  </a:cubicBezTo>
                  <a:cubicBezTo>
                    <a:pt x="1248827" y="1085111"/>
                    <a:pt x="1231805" y="1194885"/>
                    <a:pt x="1305586" y="1243722"/>
                  </a:cubicBezTo>
                  <a:lnTo>
                    <a:pt x="1330925" y="1260509"/>
                  </a:lnTo>
                  <a:lnTo>
                    <a:pt x="2126031" y="1266605"/>
                  </a:lnTo>
                  <a:lnTo>
                    <a:pt x="2158749" y="1284732"/>
                  </a:lnTo>
                  <a:cubicBezTo>
                    <a:pt x="2197402" y="1306137"/>
                    <a:pt x="2233814" y="1345484"/>
                    <a:pt x="2249007" y="1382244"/>
                  </a:cubicBezTo>
                  <a:lnTo>
                    <a:pt x="2259929" y="1408637"/>
                  </a:lnTo>
                  <a:lnTo>
                    <a:pt x="2312111" y="1411732"/>
                  </a:lnTo>
                  <a:cubicBezTo>
                    <a:pt x="2342128" y="1413510"/>
                    <a:pt x="2379741" y="1420321"/>
                    <a:pt x="2400730" y="1427780"/>
                  </a:cubicBezTo>
                  <a:cubicBezTo>
                    <a:pt x="2420772" y="1434892"/>
                    <a:pt x="2437835" y="1440734"/>
                    <a:pt x="2438666" y="1440734"/>
                  </a:cubicBezTo>
                  <a:cubicBezTo>
                    <a:pt x="2443954" y="1440734"/>
                    <a:pt x="2459378" y="1370214"/>
                    <a:pt x="2465358" y="1318652"/>
                  </a:cubicBezTo>
                  <a:cubicBezTo>
                    <a:pt x="2479581" y="1196293"/>
                    <a:pt x="2450719" y="1063220"/>
                    <a:pt x="2385929" y="952546"/>
                  </a:cubicBezTo>
                  <a:cubicBezTo>
                    <a:pt x="2314189" y="829979"/>
                    <a:pt x="2186018" y="727271"/>
                    <a:pt x="2050181" y="683560"/>
                  </a:cubicBezTo>
                  <a:cubicBezTo>
                    <a:pt x="1966883" y="656728"/>
                    <a:pt x="1947898" y="655643"/>
                    <a:pt x="1557874" y="655643"/>
                  </a:cubicBezTo>
                  <a:cubicBezTo>
                    <a:pt x="1140157" y="655643"/>
                    <a:pt x="1138333" y="655805"/>
                    <a:pt x="1028057" y="700185"/>
                  </a:cubicBezTo>
                  <a:cubicBezTo>
                    <a:pt x="782844" y="798876"/>
                    <a:pt x="626341" y="1059295"/>
                    <a:pt x="656473" y="1318490"/>
                  </a:cubicBezTo>
                  <a:cubicBezTo>
                    <a:pt x="660394" y="1352226"/>
                    <a:pt x="667753" y="1393813"/>
                    <a:pt x="672823" y="1410877"/>
                  </a:cubicBezTo>
                  <a:cubicBezTo>
                    <a:pt x="682863" y="1444682"/>
                    <a:pt x="679570" y="1443851"/>
                    <a:pt x="730084" y="1425332"/>
                  </a:cubicBezTo>
                  <a:close/>
                  <a:moveTo>
                    <a:pt x="157985" y="1306668"/>
                  </a:moveTo>
                  <a:cubicBezTo>
                    <a:pt x="169523" y="1302281"/>
                    <a:pt x="184612" y="1278151"/>
                    <a:pt x="221001" y="1205968"/>
                  </a:cubicBezTo>
                  <a:lnTo>
                    <a:pt x="268848" y="1111042"/>
                  </a:lnTo>
                  <a:lnTo>
                    <a:pt x="566013" y="1107763"/>
                  </a:lnTo>
                  <a:lnTo>
                    <a:pt x="585960" y="1046664"/>
                  </a:lnTo>
                  <a:cubicBezTo>
                    <a:pt x="669674" y="790263"/>
                    <a:pt x="878460" y="608976"/>
                    <a:pt x="1141730" y="564110"/>
                  </a:cubicBezTo>
                  <a:cubicBezTo>
                    <a:pt x="1180571" y="557483"/>
                    <a:pt x="1240879" y="554874"/>
                    <a:pt x="1354024" y="554874"/>
                  </a:cubicBezTo>
                  <a:lnTo>
                    <a:pt x="1512061" y="554874"/>
                  </a:lnTo>
                  <a:lnTo>
                    <a:pt x="1512061" y="350589"/>
                  </a:lnTo>
                  <a:cubicBezTo>
                    <a:pt x="1512061" y="230077"/>
                    <a:pt x="1509572" y="139769"/>
                    <a:pt x="1505991" y="130347"/>
                  </a:cubicBezTo>
                  <a:cubicBezTo>
                    <a:pt x="1492763" y="95550"/>
                    <a:pt x="1515312" y="96658"/>
                    <a:pt x="808173" y="96681"/>
                  </a:cubicBezTo>
                  <a:cubicBezTo>
                    <a:pt x="368314" y="96704"/>
                    <a:pt x="151339" y="98805"/>
                    <a:pt x="135477" y="103216"/>
                  </a:cubicBezTo>
                  <a:cubicBezTo>
                    <a:pt x="92761" y="115084"/>
                    <a:pt x="94728" y="85967"/>
                    <a:pt x="94728" y="706489"/>
                  </a:cubicBezTo>
                  <a:cubicBezTo>
                    <a:pt x="94728" y="1079453"/>
                    <a:pt x="96838" y="1267783"/>
                    <a:pt x="101158" y="1280183"/>
                  </a:cubicBezTo>
                  <a:cubicBezTo>
                    <a:pt x="104696" y="1290343"/>
                    <a:pt x="113631" y="1301542"/>
                    <a:pt x="121013" y="1305121"/>
                  </a:cubicBezTo>
                  <a:cubicBezTo>
                    <a:pt x="138294" y="1313480"/>
                    <a:pt x="139901" y="1313526"/>
                    <a:pt x="157975" y="1306668"/>
                  </a:cubicBezTo>
                  <a:close/>
                  <a:moveTo>
                    <a:pt x="232216" y="909227"/>
                  </a:moveTo>
                  <a:lnTo>
                    <a:pt x="165161" y="841940"/>
                  </a:lnTo>
                  <a:lnTo>
                    <a:pt x="235238" y="771859"/>
                  </a:lnTo>
                  <a:lnTo>
                    <a:pt x="299257" y="835890"/>
                  </a:lnTo>
                  <a:lnTo>
                    <a:pt x="516263" y="619113"/>
                  </a:lnTo>
                  <a:lnTo>
                    <a:pt x="586440" y="689309"/>
                  </a:lnTo>
                  <a:lnTo>
                    <a:pt x="299273" y="976491"/>
                  </a:lnTo>
                  <a:close/>
                  <a:moveTo>
                    <a:pt x="233657" y="458562"/>
                  </a:moveTo>
                  <a:cubicBezTo>
                    <a:pt x="197572" y="422355"/>
                    <a:pt x="168042" y="389936"/>
                    <a:pt x="168042" y="386518"/>
                  </a:cubicBezTo>
                  <a:cubicBezTo>
                    <a:pt x="168042" y="383101"/>
                    <a:pt x="182571" y="365944"/>
                    <a:pt x="200329" y="348418"/>
                  </a:cubicBezTo>
                  <a:lnTo>
                    <a:pt x="232611" y="316530"/>
                  </a:lnTo>
                  <a:lnTo>
                    <a:pt x="262717" y="347102"/>
                  </a:lnTo>
                  <a:cubicBezTo>
                    <a:pt x="279275" y="363912"/>
                    <a:pt x="295643" y="377651"/>
                    <a:pt x="299095" y="377651"/>
                  </a:cubicBezTo>
                  <a:cubicBezTo>
                    <a:pt x="302547" y="377651"/>
                    <a:pt x="352820" y="330269"/>
                    <a:pt x="410819" y="272334"/>
                  </a:cubicBezTo>
                  <a:lnTo>
                    <a:pt x="516266" y="167016"/>
                  </a:lnTo>
                  <a:lnTo>
                    <a:pt x="586440" y="237189"/>
                  </a:lnTo>
                  <a:lnTo>
                    <a:pt x="299273" y="524371"/>
                  </a:lnTo>
                  <a:close/>
                  <a:moveTo>
                    <a:pt x="705659" y="454036"/>
                  </a:moveTo>
                  <a:lnTo>
                    <a:pt x="705659" y="402105"/>
                  </a:lnTo>
                  <a:lnTo>
                    <a:pt x="1408208" y="402105"/>
                  </a:lnTo>
                  <a:lnTo>
                    <a:pt x="1408208" y="505944"/>
                  </a:lnTo>
                  <a:lnTo>
                    <a:pt x="705659" y="505944"/>
                  </a:lnTo>
                  <a:close/>
                  <a:moveTo>
                    <a:pt x="705659" y="252406"/>
                  </a:moveTo>
                  <a:lnTo>
                    <a:pt x="705659" y="200475"/>
                  </a:lnTo>
                  <a:lnTo>
                    <a:pt x="1408208" y="200475"/>
                  </a:lnTo>
                  <a:lnTo>
                    <a:pt x="1408208" y="304338"/>
                  </a:lnTo>
                  <a:lnTo>
                    <a:pt x="705659" y="304338"/>
                  </a:lnTo>
                  <a:close/>
                  <a:moveTo>
                    <a:pt x="400205" y="2571195"/>
                  </a:moveTo>
                  <a:lnTo>
                    <a:pt x="400205" y="2418218"/>
                  </a:lnTo>
                  <a:lnTo>
                    <a:pt x="444494" y="2418080"/>
                  </a:lnTo>
                  <a:cubicBezTo>
                    <a:pt x="499858" y="2417918"/>
                    <a:pt x="529632" y="2405195"/>
                    <a:pt x="562782" y="2367534"/>
                  </a:cubicBezTo>
                  <a:cubicBezTo>
                    <a:pt x="604159" y="2320520"/>
                    <a:pt x="613044" y="2262377"/>
                    <a:pt x="587304" y="2207098"/>
                  </a:cubicBezTo>
                  <a:cubicBezTo>
                    <a:pt x="545476" y="2117274"/>
                    <a:pt x="435357" y="2091112"/>
                    <a:pt x="355506" y="2152003"/>
                  </a:cubicBezTo>
                  <a:cubicBezTo>
                    <a:pt x="325196" y="2175117"/>
                    <a:pt x="304013" y="2221599"/>
                    <a:pt x="298908" y="2276163"/>
                  </a:cubicBezTo>
                  <a:lnTo>
                    <a:pt x="294764" y="2320474"/>
                  </a:lnTo>
                  <a:lnTo>
                    <a:pt x="196900" y="2320474"/>
                  </a:lnTo>
                  <a:lnTo>
                    <a:pt x="200119" y="2266996"/>
                  </a:lnTo>
                  <a:cubicBezTo>
                    <a:pt x="205517" y="2177380"/>
                    <a:pt x="241260" y="2109239"/>
                    <a:pt x="306932" y="2063357"/>
                  </a:cubicBezTo>
                  <a:cubicBezTo>
                    <a:pt x="471929" y="1948087"/>
                    <a:pt x="700935" y="2067051"/>
                    <a:pt x="700704" y="2267919"/>
                  </a:cubicBezTo>
                  <a:cubicBezTo>
                    <a:pt x="700577" y="2376101"/>
                    <a:pt x="632301" y="2474352"/>
                    <a:pt x="534731" y="2506749"/>
                  </a:cubicBezTo>
                  <a:lnTo>
                    <a:pt x="504340" y="2516840"/>
                  </a:lnTo>
                  <a:lnTo>
                    <a:pt x="500994" y="2720617"/>
                  </a:lnTo>
                  <a:lnTo>
                    <a:pt x="450594" y="2722394"/>
                  </a:lnTo>
                  <a:lnTo>
                    <a:pt x="400194" y="2724172"/>
                  </a:lnTo>
                  <a:close/>
                  <a:moveTo>
                    <a:pt x="2732737" y="1102498"/>
                  </a:moveTo>
                  <a:cubicBezTo>
                    <a:pt x="2640978" y="1077052"/>
                    <a:pt x="2594406" y="970372"/>
                    <a:pt x="2638415" y="886367"/>
                  </a:cubicBezTo>
                  <a:cubicBezTo>
                    <a:pt x="2649776" y="864662"/>
                    <a:pt x="2682517" y="833905"/>
                    <a:pt x="2707754" y="821181"/>
                  </a:cubicBezTo>
                  <a:cubicBezTo>
                    <a:pt x="2784689" y="782412"/>
                    <a:pt x="2886307" y="825684"/>
                    <a:pt x="2913968" y="908950"/>
                  </a:cubicBezTo>
                  <a:cubicBezTo>
                    <a:pt x="2951535" y="1022095"/>
                    <a:pt x="2846662" y="1134109"/>
                    <a:pt x="2732737" y="1102498"/>
                  </a:cubicBezTo>
                  <a:close/>
                  <a:moveTo>
                    <a:pt x="2803253" y="994271"/>
                  </a:moveTo>
                  <a:cubicBezTo>
                    <a:pt x="2815329" y="984781"/>
                    <a:pt x="2819347" y="976098"/>
                    <a:pt x="2819347" y="959542"/>
                  </a:cubicBezTo>
                  <a:cubicBezTo>
                    <a:pt x="2819347" y="913476"/>
                    <a:pt x="2768872" y="891909"/>
                    <a:pt x="2736593" y="924190"/>
                  </a:cubicBezTo>
                  <a:cubicBezTo>
                    <a:pt x="2692422" y="968363"/>
                    <a:pt x="2753956" y="1033064"/>
                    <a:pt x="2803253" y="994271"/>
                  </a:cubicBezTo>
                  <a:close/>
                  <a:moveTo>
                    <a:pt x="2721608" y="554828"/>
                  </a:moveTo>
                  <a:lnTo>
                    <a:pt x="2721608" y="402105"/>
                  </a:lnTo>
                  <a:lnTo>
                    <a:pt x="2762846" y="402035"/>
                  </a:lnTo>
                  <a:cubicBezTo>
                    <a:pt x="2848671" y="401920"/>
                    <a:pt x="2911729" y="348349"/>
                    <a:pt x="2921311" y="267485"/>
                  </a:cubicBezTo>
                  <a:cubicBezTo>
                    <a:pt x="2926437" y="224143"/>
                    <a:pt x="2913945" y="186736"/>
                    <a:pt x="2882659" y="151961"/>
                  </a:cubicBezTo>
                  <a:cubicBezTo>
                    <a:pt x="2851164" y="116909"/>
                    <a:pt x="2816922" y="101553"/>
                    <a:pt x="2770212" y="101530"/>
                  </a:cubicBezTo>
                  <a:cubicBezTo>
                    <a:pt x="2685565" y="101484"/>
                    <a:pt x="2627517" y="160620"/>
                    <a:pt x="2619597" y="254992"/>
                  </a:cubicBezTo>
                  <a:lnTo>
                    <a:pt x="2615972" y="298218"/>
                  </a:lnTo>
                  <a:lnTo>
                    <a:pt x="2518303" y="298218"/>
                  </a:lnTo>
                  <a:lnTo>
                    <a:pt x="2521466" y="242870"/>
                  </a:lnTo>
                  <a:cubicBezTo>
                    <a:pt x="2524191" y="195233"/>
                    <a:pt x="2527677" y="181309"/>
                    <a:pt x="2546611" y="143025"/>
                  </a:cubicBezTo>
                  <a:cubicBezTo>
                    <a:pt x="2640863" y="-47683"/>
                    <a:pt x="2907942" y="-46968"/>
                    <a:pt x="2998523" y="144248"/>
                  </a:cubicBezTo>
                  <a:cubicBezTo>
                    <a:pt x="3016672" y="182602"/>
                    <a:pt x="3017895" y="189461"/>
                    <a:pt x="3017803" y="252406"/>
                  </a:cubicBezTo>
                  <a:cubicBezTo>
                    <a:pt x="3017711" y="312258"/>
                    <a:pt x="3015909" y="323434"/>
                    <a:pt x="3001409" y="354560"/>
                  </a:cubicBezTo>
                  <a:cubicBezTo>
                    <a:pt x="2972408" y="416837"/>
                    <a:pt x="2909882" y="472301"/>
                    <a:pt x="2848163" y="490520"/>
                  </a:cubicBezTo>
                  <a:lnTo>
                    <a:pt x="2822417" y="498116"/>
                  </a:lnTo>
                  <a:lnTo>
                    <a:pt x="2820732" y="602834"/>
                  </a:lnTo>
                  <a:lnTo>
                    <a:pt x="2819070" y="707551"/>
                  </a:lnTo>
                  <a:lnTo>
                    <a:pt x="2721608" y="707551"/>
                  </a:lnTo>
                  <a:close/>
                </a:path>
              </a:pathLst>
            </a:custGeom>
            <a:solidFill>
              <a:srgbClr val="03556D"/>
            </a:solidFill>
            <a:ln w="6108"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6C119D9A-5EB3-4063-AA17-8818682DFB1B}"/>
              </a:ext>
            </a:extLst>
          </p:cNvPr>
          <p:cNvGrpSpPr/>
          <p:nvPr/>
        </p:nvGrpSpPr>
        <p:grpSpPr>
          <a:xfrm>
            <a:off x="7768760" y="1209478"/>
            <a:ext cx="640080" cy="640080"/>
            <a:chOff x="7768760" y="1211561"/>
            <a:chExt cx="640080" cy="640080"/>
          </a:xfrm>
        </p:grpSpPr>
        <p:sp>
          <p:nvSpPr>
            <p:cNvPr id="77" name="Oval 76">
              <a:extLst>
                <a:ext uri="{FF2B5EF4-FFF2-40B4-BE49-F238E27FC236}">
                  <a16:creationId xmlns:a16="http://schemas.microsoft.com/office/drawing/2014/main" id="{71A6A928-3CBF-400D-B21D-1215C9925B79}"/>
                </a:ext>
              </a:extLst>
            </p:cNvPr>
            <p:cNvSpPr/>
            <p:nvPr/>
          </p:nvSpPr>
          <p:spPr bwMode="auto">
            <a:xfrm>
              <a:off x="7768760" y="1211561"/>
              <a:ext cx="640080" cy="640080"/>
            </a:xfrm>
            <a:prstGeom prst="ellipse">
              <a:avLst/>
            </a:prstGeom>
            <a:solidFill>
              <a:srgbClr val="F2F2F2"/>
            </a:solidFill>
            <a:ln w="3175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102" name="Graphic 14">
              <a:extLst>
                <a:ext uri="{FF2B5EF4-FFF2-40B4-BE49-F238E27FC236}">
                  <a16:creationId xmlns:a16="http://schemas.microsoft.com/office/drawing/2014/main" id="{A0DF9ED6-C7EE-4BF6-82AA-480639B5470D}"/>
                </a:ext>
              </a:extLst>
            </p:cNvPr>
            <p:cNvSpPr/>
            <p:nvPr/>
          </p:nvSpPr>
          <p:spPr>
            <a:xfrm>
              <a:off x="7905920" y="1348721"/>
              <a:ext cx="365760" cy="365760"/>
            </a:xfrm>
            <a:custGeom>
              <a:avLst/>
              <a:gdLst>
                <a:gd name="connsiteX0" fmla="*/ 359503 w 791731"/>
                <a:gd name="connsiteY0" fmla="*/ 790300 h 791968"/>
                <a:gd name="connsiteX1" fmla="*/ 189463 w 791731"/>
                <a:gd name="connsiteY1" fmla="*/ 733635 h 791968"/>
                <a:gd name="connsiteX2" fmla="*/ 58126 w 791731"/>
                <a:gd name="connsiteY2" fmla="*/ 602294 h 791968"/>
                <a:gd name="connsiteX3" fmla="*/ 41823 w 791731"/>
                <a:gd name="connsiteY3" fmla="*/ 218870 h 791968"/>
                <a:gd name="connsiteX4" fmla="*/ 189463 w 791731"/>
                <a:gd name="connsiteY4" fmla="*/ 58134 h 791968"/>
                <a:gd name="connsiteX5" fmla="*/ 572868 w 791731"/>
                <a:gd name="connsiteY5" fmla="*/ 41832 h 791968"/>
                <a:gd name="connsiteX6" fmla="*/ 733605 w 791731"/>
                <a:gd name="connsiteY6" fmla="*/ 189475 h 791968"/>
                <a:gd name="connsiteX7" fmla="*/ 749909 w 791731"/>
                <a:gd name="connsiteY7" fmla="*/ 572900 h 791968"/>
                <a:gd name="connsiteX8" fmla="*/ 602268 w 791731"/>
                <a:gd name="connsiteY8" fmla="*/ 733635 h 791968"/>
                <a:gd name="connsiteX9" fmla="*/ 359503 w 791731"/>
                <a:gd name="connsiteY9" fmla="*/ 790300 h 791968"/>
                <a:gd name="connsiteX10" fmla="*/ 444612 w 791731"/>
                <a:gd name="connsiteY10" fmla="*/ 749568 h 791968"/>
                <a:gd name="connsiteX11" fmla="*/ 552932 w 791731"/>
                <a:gd name="connsiteY11" fmla="*/ 716179 h 791968"/>
                <a:gd name="connsiteX12" fmla="*/ 750410 w 791731"/>
                <a:gd name="connsiteY12" fmla="*/ 439203 h 791968"/>
                <a:gd name="connsiteX13" fmla="*/ 752398 w 791731"/>
                <a:gd name="connsiteY13" fmla="*/ 395885 h 791968"/>
                <a:gd name="connsiteX14" fmla="*/ 733827 w 791731"/>
                <a:gd name="connsiteY14" fmla="*/ 281354 h 791968"/>
                <a:gd name="connsiteX15" fmla="*/ 439202 w 791731"/>
                <a:gd name="connsiteY15" fmla="*/ 41301 h 791968"/>
                <a:gd name="connsiteX16" fmla="*/ 352546 w 791731"/>
                <a:gd name="connsiteY16" fmla="*/ 41301 h 791968"/>
                <a:gd name="connsiteX17" fmla="*/ 57921 w 791731"/>
                <a:gd name="connsiteY17" fmla="*/ 281354 h 791968"/>
                <a:gd name="connsiteX18" fmla="*/ 39352 w 791731"/>
                <a:gd name="connsiteY18" fmla="*/ 395885 h 791968"/>
                <a:gd name="connsiteX19" fmla="*/ 41338 w 791731"/>
                <a:gd name="connsiteY19" fmla="*/ 439203 h 791968"/>
                <a:gd name="connsiteX20" fmla="*/ 238815 w 791731"/>
                <a:gd name="connsiteY20" fmla="*/ 716179 h 791968"/>
                <a:gd name="connsiteX21" fmla="*/ 373442 w 791731"/>
                <a:gd name="connsiteY21" fmla="*/ 752431 h 791968"/>
                <a:gd name="connsiteX22" fmla="*/ 444623 w 791731"/>
                <a:gd name="connsiteY22" fmla="*/ 749545 h 791968"/>
                <a:gd name="connsiteX23" fmla="*/ 381166 w 791731"/>
                <a:gd name="connsiteY23" fmla="*/ 652771 h 791968"/>
                <a:gd name="connsiteX24" fmla="*/ 277144 w 791731"/>
                <a:gd name="connsiteY24" fmla="*/ 558029 h 791968"/>
                <a:gd name="connsiteX25" fmla="*/ 276257 w 791731"/>
                <a:gd name="connsiteY25" fmla="*/ 547430 h 791968"/>
                <a:gd name="connsiteX26" fmla="*/ 314360 w 791731"/>
                <a:gd name="connsiteY26" fmla="*/ 548308 h 791968"/>
                <a:gd name="connsiteX27" fmla="*/ 316330 w 791731"/>
                <a:gd name="connsiteY27" fmla="*/ 557983 h 791968"/>
                <a:gd name="connsiteX28" fmla="*/ 336316 w 791731"/>
                <a:gd name="connsiteY28" fmla="*/ 592204 h 791968"/>
                <a:gd name="connsiteX29" fmla="*/ 443577 w 791731"/>
                <a:gd name="connsiteY29" fmla="*/ 600078 h 791968"/>
                <a:gd name="connsiteX30" fmla="*/ 474028 w 791731"/>
                <a:gd name="connsiteY30" fmla="*/ 551748 h 791968"/>
                <a:gd name="connsiteX31" fmla="*/ 474868 w 791731"/>
                <a:gd name="connsiteY31" fmla="*/ 547453 h 791968"/>
                <a:gd name="connsiteX32" fmla="*/ 512699 w 791731"/>
                <a:gd name="connsiteY32" fmla="*/ 548308 h 791968"/>
                <a:gd name="connsiteX33" fmla="*/ 512197 w 791731"/>
                <a:gd name="connsiteY33" fmla="*/ 556043 h 791968"/>
                <a:gd name="connsiteX34" fmla="*/ 481844 w 791731"/>
                <a:gd name="connsiteY34" fmla="*/ 617996 h 791968"/>
                <a:gd name="connsiteX35" fmla="*/ 398187 w 791731"/>
                <a:gd name="connsiteY35" fmla="*/ 653418 h 791968"/>
                <a:gd name="connsiteX36" fmla="*/ 381166 w 791731"/>
                <a:gd name="connsiteY36" fmla="*/ 652771 h 791968"/>
                <a:gd name="connsiteX37" fmla="*/ 132304 w 791731"/>
                <a:gd name="connsiteY37" fmla="*/ 455782 h 791968"/>
                <a:gd name="connsiteX38" fmla="*/ 123514 w 791731"/>
                <a:gd name="connsiteY38" fmla="*/ 438788 h 791968"/>
                <a:gd name="connsiteX39" fmla="*/ 160652 w 791731"/>
                <a:gd name="connsiteY39" fmla="*/ 417382 h 791968"/>
                <a:gd name="connsiteX40" fmla="*/ 197789 w 791731"/>
                <a:gd name="connsiteY40" fmla="*/ 395885 h 791968"/>
                <a:gd name="connsiteX41" fmla="*/ 160652 w 791731"/>
                <a:gd name="connsiteY41" fmla="*/ 374387 h 791968"/>
                <a:gd name="connsiteX42" fmla="*/ 123514 w 791731"/>
                <a:gd name="connsiteY42" fmla="*/ 352958 h 791968"/>
                <a:gd name="connsiteX43" fmla="*/ 132304 w 791731"/>
                <a:gd name="connsiteY43" fmla="*/ 335987 h 791968"/>
                <a:gd name="connsiteX44" fmla="*/ 143524 w 791731"/>
                <a:gd name="connsiteY44" fmla="*/ 320839 h 791968"/>
                <a:gd name="connsiteX45" fmla="*/ 278259 w 791731"/>
                <a:gd name="connsiteY45" fmla="*/ 395885 h 791968"/>
                <a:gd name="connsiteX46" fmla="*/ 143524 w 791731"/>
                <a:gd name="connsiteY46" fmla="*/ 470930 h 791968"/>
                <a:gd name="connsiteX47" fmla="*/ 132304 w 791731"/>
                <a:gd name="connsiteY47" fmla="*/ 455782 h 791968"/>
                <a:gd name="connsiteX48" fmla="*/ 581123 w 791731"/>
                <a:gd name="connsiteY48" fmla="*/ 434262 h 791968"/>
                <a:gd name="connsiteX49" fmla="*/ 513472 w 791731"/>
                <a:gd name="connsiteY49" fmla="*/ 395885 h 791968"/>
                <a:gd name="connsiteX50" fmla="*/ 648208 w 791731"/>
                <a:gd name="connsiteY50" fmla="*/ 320839 h 791968"/>
                <a:gd name="connsiteX51" fmla="*/ 659427 w 791731"/>
                <a:gd name="connsiteY51" fmla="*/ 335987 h 791968"/>
                <a:gd name="connsiteX52" fmla="*/ 668217 w 791731"/>
                <a:gd name="connsiteY52" fmla="*/ 352982 h 791968"/>
                <a:gd name="connsiteX53" fmla="*/ 631080 w 791731"/>
                <a:gd name="connsiteY53" fmla="*/ 374387 h 791968"/>
                <a:gd name="connsiteX54" fmla="*/ 593942 w 791731"/>
                <a:gd name="connsiteY54" fmla="*/ 395885 h 791968"/>
                <a:gd name="connsiteX55" fmla="*/ 631080 w 791731"/>
                <a:gd name="connsiteY55" fmla="*/ 417382 h 791968"/>
                <a:gd name="connsiteX56" fmla="*/ 668217 w 791731"/>
                <a:gd name="connsiteY56" fmla="*/ 438788 h 791968"/>
                <a:gd name="connsiteX57" fmla="*/ 649738 w 791731"/>
                <a:gd name="connsiteY57" fmla="*/ 471715 h 791968"/>
                <a:gd name="connsiteX58" fmla="*/ 581123 w 791731"/>
                <a:gd name="connsiteY58" fmla="*/ 434262 h 79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791731" h="791968">
                  <a:moveTo>
                    <a:pt x="359503" y="790300"/>
                  </a:moveTo>
                  <a:cubicBezTo>
                    <a:pt x="299846" y="784620"/>
                    <a:pt x="240163" y="764716"/>
                    <a:pt x="189463" y="733635"/>
                  </a:cubicBezTo>
                  <a:cubicBezTo>
                    <a:pt x="138486" y="702393"/>
                    <a:pt x="89378" y="653279"/>
                    <a:pt x="58126" y="602294"/>
                  </a:cubicBezTo>
                  <a:cubicBezTo>
                    <a:pt x="-13094" y="486124"/>
                    <a:pt x="-19268" y="340905"/>
                    <a:pt x="41823" y="218870"/>
                  </a:cubicBezTo>
                  <a:cubicBezTo>
                    <a:pt x="73964" y="154654"/>
                    <a:pt x="128040" y="95772"/>
                    <a:pt x="189463" y="58134"/>
                  </a:cubicBezTo>
                  <a:cubicBezTo>
                    <a:pt x="305632" y="-13102"/>
                    <a:pt x="450839" y="-19267"/>
                    <a:pt x="572868" y="41832"/>
                  </a:cubicBezTo>
                  <a:cubicBezTo>
                    <a:pt x="637076" y="73974"/>
                    <a:pt x="695950" y="128053"/>
                    <a:pt x="733605" y="189475"/>
                  </a:cubicBezTo>
                  <a:cubicBezTo>
                    <a:pt x="804825" y="305645"/>
                    <a:pt x="810999" y="450864"/>
                    <a:pt x="749909" y="572900"/>
                  </a:cubicBezTo>
                  <a:cubicBezTo>
                    <a:pt x="717768" y="637115"/>
                    <a:pt x="663692" y="695974"/>
                    <a:pt x="602268" y="733635"/>
                  </a:cubicBezTo>
                  <a:cubicBezTo>
                    <a:pt x="530362" y="777716"/>
                    <a:pt x="442554" y="798221"/>
                    <a:pt x="359503" y="790300"/>
                  </a:cubicBezTo>
                  <a:close/>
                  <a:moveTo>
                    <a:pt x="444612" y="749568"/>
                  </a:moveTo>
                  <a:cubicBezTo>
                    <a:pt x="482500" y="744142"/>
                    <a:pt x="518750" y="732966"/>
                    <a:pt x="552932" y="716179"/>
                  </a:cubicBezTo>
                  <a:cubicBezTo>
                    <a:pt x="661126" y="663046"/>
                    <a:pt x="733965" y="560869"/>
                    <a:pt x="750410" y="439203"/>
                  </a:cubicBezTo>
                  <a:cubicBezTo>
                    <a:pt x="751502" y="431121"/>
                    <a:pt x="752398" y="411632"/>
                    <a:pt x="752398" y="395885"/>
                  </a:cubicBezTo>
                  <a:cubicBezTo>
                    <a:pt x="752398" y="353513"/>
                    <a:pt x="747078" y="320724"/>
                    <a:pt x="733827" y="281354"/>
                  </a:cubicBezTo>
                  <a:cubicBezTo>
                    <a:pt x="690374" y="152322"/>
                    <a:pt x="576990" y="59935"/>
                    <a:pt x="439202" y="41301"/>
                  </a:cubicBezTo>
                  <a:cubicBezTo>
                    <a:pt x="420277" y="38761"/>
                    <a:pt x="371470" y="38761"/>
                    <a:pt x="352546" y="41301"/>
                  </a:cubicBezTo>
                  <a:cubicBezTo>
                    <a:pt x="214792" y="59935"/>
                    <a:pt x="101353" y="152345"/>
                    <a:pt x="57921" y="281354"/>
                  </a:cubicBezTo>
                  <a:cubicBezTo>
                    <a:pt x="44670" y="320724"/>
                    <a:pt x="39352" y="353513"/>
                    <a:pt x="39352" y="395885"/>
                  </a:cubicBezTo>
                  <a:cubicBezTo>
                    <a:pt x="39352" y="411632"/>
                    <a:pt x="40246" y="431121"/>
                    <a:pt x="41338" y="439203"/>
                  </a:cubicBezTo>
                  <a:cubicBezTo>
                    <a:pt x="57768" y="560800"/>
                    <a:pt x="130764" y="663185"/>
                    <a:pt x="238815" y="716179"/>
                  </a:cubicBezTo>
                  <a:cubicBezTo>
                    <a:pt x="280891" y="736822"/>
                    <a:pt x="318636" y="747005"/>
                    <a:pt x="373442" y="752431"/>
                  </a:cubicBezTo>
                  <a:cubicBezTo>
                    <a:pt x="384888" y="753586"/>
                    <a:pt x="429010" y="751785"/>
                    <a:pt x="444623" y="749545"/>
                  </a:cubicBezTo>
                  <a:close/>
                  <a:moveTo>
                    <a:pt x="381166" y="652771"/>
                  </a:moveTo>
                  <a:cubicBezTo>
                    <a:pt x="325335" y="646767"/>
                    <a:pt x="281215" y="606589"/>
                    <a:pt x="277144" y="558029"/>
                  </a:cubicBezTo>
                  <a:lnTo>
                    <a:pt x="276257" y="547430"/>
                  </a:lnTo>
                  <a:lnTo>
                    <a:pt x="314360" y="548308"/>
                  </a:lnTo>
                  <a:lnTo>
                    <a:pt x="316330" y="557983"/>
                  </a:lnTo>
                  <a:cubicBezTo>
                    <a:pt x="319045" y="571306"/>
                    <a:pt x="325148" y="581767"/>
                    <a:pt x="336316" y="592204"/>
                  </a:cubicBezTo>
                  <a:cubicBezTo>
                    <a:pt x="364155" y="618250"/>
                    <a:pt x="411196" y="621714"/>
                    <a:pt x="443577" y="600078"/>
                  </a:cubicBezTo>
                  <a:cubicBezTo>
                    <a:pt x="461841" y="587886"/>
                    <a:pt x="469281" y="576086"/>
                    <a:pt x="474028" y="551748"/>
                  </a:cubicBezTo>
                  <a:lnTo>
                    <a:pt x="474868" y="547453"/>
                  </a:lnTo>
                  <a:lnTo>
                    <a:pt x="512699" y="548308"/>
                  </a:lnTo>
                  <a:lnTo>
                    <a:pt x="512197" y="556043"/>
                  </a:lnTo>
                  <a:cubicBezTo>
                    <a:pt x="510680" y="579527"/>
                    <a:pt x="501350" y="598553"/>
                    <a:pt x="481844" y="617996"/>
                  </a:cubicBezTo>
                  <a:cubicBezTo>
                    <a:pt x="458454" y="641318"/>
                    <a:pt x="437805" y="650046"/>
                    <a:pt x="398187" y="653418"/>
                  </a:cubicBezTo>
                  <a:cubicBezTo>
                    <a:pt x="394784" y="653694"/>
                    <a:pt x="387123" y="653418"/>
                    <a:pt x="381166" y="652771"/>
                  </a:cubicBezTo>
                  <a:close/>
                  <a:moveTo>
                    <a:pt x="132304" y="455782"/>
                  </a:moveTo>
                  <a:cubicBezTo>
                    <a:pt x="127469" y="446939"/>
                    <a:pt x="123514" y="439296"/>
                    <a:pt x="123514" y="438788"/>
                  </a:cubicBezTo>
                  <a:cubicBezTo>
                    <a:pt x="123514" y="438279"/>
                    <a:pt x="140227" y="428650"/>
                    <a:pt x="160652" y="417382"/>
                  </a:cubicBezTo>
                  <a:cubicBezTo>
                    <a:pt x="181079" y="406114"/>
                    <a:pt x="197789" y="396439"/>
                    <a:pt x="197789" y="395885"/>
                  </a:cubicBezTo>
                  <a:cubicBezTo>
                    <a:pt x="197789" y="395330"/>
                    <a:pt x="181077" y="385655"/>
                    <a:pt x="160652" y="374387"/>
                  </a:cubicBezTo>
                  <a:cubicBezTo>
                    <a:pt x="140227" y="363118"/>
                    <a:pt x="123514" y="353466"/>
                    <a:pt x="123514" y="352958"/>
                  </a:cubicBezTo>
                  <a:cubicBezTo>
                    <a:pt x="123514" y="352451"/>
                    <a:pt x="127469" y="344831"/>
                    <a:pt x="132304" y="335987"/>
                  </a:cubicBezTo>
                  <a:cubicBezTo>
                    <a:pt x="138933" y="323887"/>
                    <a:pt x="141693" y="320169"/>
                    <a:pt x="143524" y="320839"/>
                  </a:cubicBezTo>
                  <a:cubicBezTo>
                    <a:pt x="148377" y="322663"/>
                    <a:pt x="278259" y="394984"/>
                    <a:pt x="278259" y="395885"/>
                  </a:cubicBezTo>
                  <a:cubicBezTo>
                    <a:pt x="278259" y="396785"/>
                    <a:pt x="148380" y="469106"/>
                    <a:pt x="143524" y="470930"/>
                  </a:cubicBezTo>
                  <a:cubicBezTo>
                    <a:pt x="141693" y="471600"/>
                    <a:pt x="138933" y="467882"/>
                    <a:pt x="132304" y="455782"/>
                  </a:cubicBezTo>
                  <a:close/>
                  <a:moveTo>
                    <a:pt x="581123" y="434262"/>
                  </a:moveTo>
                  <a:cubicBezTo>
                    <a:pt x="543914" y="413665"/>
                    <a:pt x="513472" y="396393"/>
                    <a:pt x="513472" y="395885"/>
                  </a:cubicBezTo>
                  <a:cubicBezTo>
                    <a:pt x="513472" y="394984"/>
                    <a:pt x="643331" y="322663"/>
                    <a:pt x="648208" y="320839"/>
                  </a:cubicBezTo>
                  <a:cubicBezTo>
                    <a:pt x="650039" y="320169"/>
                    <a:pt x="652798" y="323887"/>
                    <a:pt x="659427" y="335987"/>
                  </a:cubicBezTo>
                  <a:cubicBezTo>
                    <a:pt x="664262" y="344831"/>
                    <a:pt x="668217" y="352474"/>
                    <a:pt x="668217" y="352982"/>
                  </a:cubicBezTo>
                  <a:cubicBezTo>
                    <a:pt x="668217" y="353490"/>
                    <a:pt x="651505" y="363118"/>
                    <a:pt x="631080" y="374387"/>
                  </a:cubicBezTo>
                  <a:cubicBezTo>
                    <a:pt x="610652" y="385655"/>
                    <a:pt x="593942" y="395330"/>
                    <a:pt x="593942" y="395885"/>
                  </a:cubicBezTo>
                  <a:cubicBezTo>
                    <a:pt x="593942" y="396439"/>
                    <a:pt x="610655" y="406114"/>
                    <a:pt x="631080" y="417382"/>
                  </a:cubicBezTo>
                  <a:cubicBezTo>
                    <a:pt x="651505" y="428650"/>
                    <a:pt x="668217" y="438279"/>
                    <a:pt x="668217" y="438788"/>
                  </a:cubicBezTo>
                  <a:cubicBezTo>
                    <a:pt x="668217" y="440519"/>
                    <a:pt x="650706" y="471715"/>
                    <a:pt x="649738" y="471715"/>
                  </a:cubicBezTo>
                  <a:cubicBezTo>
                    <a:pt x="649207" y="471715"/>
                    <a:pt x="618329" y="454859"/>
                    <a:pt x="581123" y="434262"/>
                  </a:cubicBezTo>
                  <a:close/>
                </a:path>
              </a:pathLst>
            </a:custGeom>
            <a:solidFill>
              <a:srgbClr val="03556D"/>
            </a:solidFill>
            <a:ln w="1547"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61474291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CC329AF-E410-4EC2-8019-C68FD6C4BDD5}"/>
              </a:ext>
            </a:extLst>
          </p:cNvPr>
          <p:cNvPicPr>
            <a:picLocks noChangeAspect="1"/>
          </p:cNvPicPr>
          <p:nvPr/>
        </p:nvPicPr>
        <p:blipFill rotWithShape="1">
          <a:blip r:embed="rId2"/>
          <a:srcRect r="1990"/>
          <a:stretch/>
        </p:blipFill>
        <p:spPr>
          <a:xfrm>
            <a:off x="0" y="0"/>
            <a:ext cx="9906000" cy="6795778"/>
          </a:xfrm>
          <a:prstGeom prst="rect">
            <a:avLst/>
          </a:prstGeom>
        </p:spPr>
      </p:pic>
      <p:sp>
        <p:nvSpPr>
          <p:cNvPr id="32" name="Rectangle 31">
            <a:extLst>
              <a:ext uri="{FF2B5EF4-FFF2-40B4-BE49-F238E27FC236}">
                <a16:creationId xmlns:a16="http://schemas.microsoft.com/office/drawing/2014/main" id="{94C451B8-6F40-4062-A75A-C2EC521C06F8}"/>
              </a:ext>
            </a:extLst>
          </p:cNvPr>
          <p:cNvSpPr/>
          <p:nvPr/>
        </p:nvSpPr>
        <p:spPr bwMode="auto">
          <a:xfrm>
            <a:off x="0" y="0"/>
            <a:ext cx="9906000" cy="6795778"/>
          </a:xfrm>
          <a:prstGeom prst="rect">
            <a:avLst/>
          </a:prstGeom>
          <a:solidFill>
            <a:schemeClr val="bg1">
              <a:alpha val="73000"/>
            </a:schemeClr>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84" name="Arrow: Right 83">
            <a:extLst>
              <a:ext uri="{FF2B5EF4-FFF2-40B4-BE49-F238E27FC236}">
                <a16:creationId xmlns:a16="http://schemas.microsoft.com/office/drawing/2014/main" id="{E4830784-3D6B-47EF-A3A4-0C67142F5E82}"/>
              </a:ext>
            </a:extLst>
          </p:cNvPr>
          <p:cNvSpPr/>
          <p:nvPr/>
        </p:nvSpPr>
        <p:spPr bwMode="auto">
          <a:xfrm>
            <a:off x="1614159" y="2975239"/>
            <a:ext cx="660606" cy="295206"/>
          </a:xfrm>
          <a:prstGeom prst="rightArrow">
            <a:avLst/>
          </a:prstGeom>
          <a:solidFill>
            <a:srgbClr val="05405E"/>
          </a:solidFill>
          <a:ln w="12700">
            <a:noFill/>
            <a:round/>
            <a:headEnd/>
            <a:tailEnd/>
          </a:ln>
        </p:spPr>
        <p:txBody>
          <a:bodyPr wrap="square" lIns="0" tIns="0" rIns="0" bIns="0" rtlCol="0" anchor="ctr">
            <a:noAutofit/>
          </a:bodyPr>
          <a:lstStyle/>
          <a:p>
            <a:pPr algn="l"/>
            <a:endParaRPr lang="en-US" dirty="0">
              <a:solidFill>
                <a:schemeClr val="tx2"/>
              </a:solidFill>
            </a:endParaRPr>
          </a:p>
        </p:txBody>
      </p:sp>
      <p:sp>
        <p:nvSpPr>
          <p:cNvPr id="86" name="Arrow: Right 85">
            <a:extLst>
              <a:ext uri="{FF2B5EF4-FFF2-40B4-BE49-F238E27FC236}">
                <a16:creationId xmlns:a16="http://schemas.microsoft.com/office/drawing/2014/main" id="{333011BE-E3AB-4872-93E4-330A1E5DED06}"/>
              </a:ext>
            </a:extLst>
          </p:cNvPr>
          <p:cNvSpPr/>
          <p:nvPr/>
        </p:nvSpPr>
        <p:spPr bwMode="auto">
          <a:xfrm>
            <a:off x="5421660" y="2972496"/>
            <a:ext cx="660606" cy="295206"/>
          </a:xfrm>
          <a:prstGeom prst="rightArrow">
            <a:avLst/>
          </a:prstGeom>
          <a:solidFill>
            <a:srgbClr val="05405E"/>
          </a:solidFill>
          <a:ln w="12700">
            <a:noFill/>
            <a:round/>
            <a:headEnd/>
            <a:tailEnd/>
          </a:ln>
        </p:spPr>
        <p:txBody>
          <a:bodyPr wrap="square" lIns="0" tIns="0" rIns="0" bIns="0" rtlCol="0" anchor="ctr">
            <a:noAutofit/>
          </a:bodyPr>
          <a:lstStyle/>
          <a:p>
            <a:pPr algn="l"/>
            <a:endParaRPr lang="en-US" dirty="0">
              <a:solidFill>
                <a:schemeClr val="tx2"/>
              </a:solidFill>
            </a:endParaRPr>
          </a:p>
        </p:txBody>
      </p:sp>
      <p:sp>
        <p:nvSpPr>
          <p:cNvPr id="87" name="Arrow: Right 86">
            <a:extLst>
              <a:ext uri="{FF2B5EF4-FFF2-40B4-BE49-F238E27FC236}">
                <a16:creationId xmlns:a16="http://schemas.microsoft.com/office/drawing/2014/main" id="{B34DFE6B-C9A4-40CF-B25E-39D5A95CD842}"/>
              </a:ext>
            </a:extLst>
          </p:cNvPr>
          <p:cNvSpPr/>
          <p:nvPr/>
        </p:nvSpPr>
        <p:spPr bwMode="auto">
          <a:xfrm>
            <a:off x="7326714" y="2975239"/>
            <a:ext cx="660606" cy="295206"/>
          </a:xfrm>
          <a:prstGeom prst="rightArrow">
            <a:avLst/>
          </a:prstGeom>
          <a:solidFill>
            <a:srgbClr val="05405E"/>
          </a:solidFill>
          <a:ln w="12700">
            <a:noFill/>
            <a:round/>
            <a:headEnd/>
            <a:tailEnd/>
          </a:ln>
        </p:spPr>
        <p:txBody>
          <a:bodyPr wrap="square" lIns="0" tIns="0" rIns="0" bIns="0" rtlCol="0" anchor="ctr">
            <a:noAutofit/>
          </a:bodyPr>
          <a:lstStyle/>
          <a:p>
            <a:pPr algn="l"/>
            <a:endParaRPr lang="en-US" dirty="0">
              <a:solidFill>
                <a:schemeClr val="tx2"/>
              </a:solidFill>
            </a:endParaRPr>
          </a:p>
        </p:txBody>
      </p:sp>
      <p:sp>
        <p:nvSpPr>
          <p:cNvPr id="85" name="Arrow: Right 84">
            <a:extLst>
              <a:ext uri="{FF2B5EF4-FFF2-40B4-BE49-F238E27FC236}">
                <a16:creationId xmlns:a16="http://schemas.microsoft.com/office/drawing/2014/main" id="{1120C9E7-3FA2-4278-B98D-827DB538EFA6}"/>
              </a:ext>
            </a:extLst>
          </p:cNvPr>
          <p:cNvSpPr/>
          <p:nvPr/>
        </p:nvSpPr>
        <p:spPr bwMode="auto">
          <a:xfrm>
            <a:off x="3520180" y="2998502"/>
            <a:ext cx="660606" cy="295206"/>
          </a:xfrm>
          <a:prstGeom prst="rightArrow">
            <a:avLst/>
          </a:prstGeom>
          <a:solidFill>
            <a:srgbClr val="05405E"/>
          </a:solidFill>
          <a:ln w="12700">
            <a:noFill/>
            <a:round/>
            <a:headEnd/>
            <a:tailEnd/>
          </a:ln>
        </p:spPr>
        <p:txBody>
          <a:bodyPr wrap="square" lIns="0" tIns="0" rIns="0" bIns="0" rtlCol="0" anchor="ctr">
            <a:noAutofit/>
          </a:bodyPr>
          <a:lstStyle/>
          <a:p>
            <a:pPr algn="l"/>
            <a:endParaRPr lang="en-US" dirty="0">
              <a:solidFill>
                <a:schemeClr val="tx2"/>
              </a:solidFill>
            </a:endParaRPr>
          </a:p>
        </p:txBody>
      </p:sp>
      <p:sp>
        <p:nvSpPr>
          <p:cNvPr id="31" name="Title 1">
            <a:extLst>
              <a:ext uri="{FF2B5EF4-FFF2-40B4-BE49-F238E27FC236}">
                <a16:creationId xmlns:a16="http://schemas.microsoft.com/office/drawing/2014/main" id="{D7939722-3940-437C-92A4-3A2FCB3C1E39}"/>
              </a:ext>
            </a:extLst>
          </p:cNvPr>
          <p:cNvSpPr txBox="1">
            <a:spLocks/>
          </p:cNvSpPr>
          <p:nvPr/>
        </p:nvSpPr>
        <p:spPr>
          <a:xfrm>
            <a:off x="417513" y="227576"/>
            <a:ext cx="9091142" cy="460800"/>
          </a:xfrm>
          <a:prstGeom prst="rect">
            <a:avLst/>
          </a:prstGeom>
        </p:spPr>
        <p:txBody>
          <a:bodyPr/>
          <a:lstStyle>
            <a:lvl1pPr algn="l" rtl="0" eaLnBrk="1" fontAlgn="base" hangingPunct="1">
              <a:spcBef>
                <a:spcPct val="0"/>
              </a:spcBef>
              <a:spcAft>
                <a:spcPct val="0"/>
              </a:spcAft>
              <a:defRPr lang="en-US" sz="2400" b="0" smtClean="0">
                <a:solidFill>
                  <a:srgbClr val="05405E"/>
                </a:solidFill>
                <a:latin typeface="Poppins Black" panose="00000A00000000000000" pitchFamily="2" charset="0"/>
                <a:ea typeface="+mj-ea"/>
                <a:cs typeface="Poppins Black" panose="00000A00000000000000" pitchFamily="2"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a:lstStyle>
          <a:p>
            <a:r>
              <a:rPr lang="en-IN" dirty="0"/>
              <a:t>Using Customer journey map to increase conversion rates</a:t>
            </a:r>
            <a:endParaRPr lang="en-US" kern="0" dirty="0"/>
          </a:p>
        </p:txBody>
      </p:sp>
      <p:sp>
        <p:nvSpPr>
          <p:cNvPr id="35" name="Rectangle: Top Corners Snipped 34">
            <a:extLst>
              <a:ext uri="{FF2B5EF4-FFF2-40B4-BE49-F238E27FC236}">
                <a16:creationId xmlns:a16="http://schemas.microsoft.com/office/drawing/2014/main" id="{6ED66D27-7F7C-4C1D-B630-1DBA07EDD00E}"/>
              </a:ext>
            </a:extLst>
          </p:cNvPr>
          <p:cNvSpPr/>
          <p:nvPr/>
        </p:nvSpPr>
        <p:spPr bwMode="auto">
          <a:xfrm>
            <a:off x="417513" y="1194915"/>
            <a:ext cx="1463040" cy="550868"/>
          </a:xfrm>
          <a:prstGeom prst="snip2SameRect">
            <a:avLst>
              <a:gd name="adj1" fmla="val 17791"/>
              <a:gd name="adj2" fmla="val 18546"/>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36" name="Rectangle: Top Corners Snipped 35">
            <a:extLst>
              <a:ext uri="{FF2B5EF4-FFF2-40B4-BE49-F238E27FC236}">
                <a16:creationId xmlns:a16="http://schemas.microsoft.com/office/drawing/2014/main" id="{6835D27C-6762-42DD-ACFD-C0598260318D}"/>
              </a:ext>
            </a:extLst>
          </p:cNvPr>
          <p:cNvSpPr/>
          <p:nvPr/>
        </p:nvSpPr>
        <p:spPr bwMode="auto">
          <a:xfrm>
            <a:off x="2320359" y="1194915"/>
            <a:ext cx="1463040" cy="550868"/>
          </a:xfrm>
          <a:prstGeom prst="snip2SameRect">
            <a:avLst>
              <a:gd name="adj1" fmla="val 17791"/>
              <a:gd name="adj2" fmla="val 18546"/>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39" name="Rectangle: Top Corners Snipped 38">
            <a:extLst>
              <a:ext uri="{FF2B5EF4-FFF2-40B4-BE49-F238E27FC236}">
                <a16:creationId xmlns:a16="http://schemas.microsoft.com/office/drawing/2014/main" id="{8B5D8A22-D58C-483B-8A7F-5BB198DAE548}"/>
              </a:ext>
            </a:extLst>
          </p:cNvPr>
          <p:cNvSpPr/>
          <p:nvPr/>
        </p:nvSpPr>
        <p:spPr bwMode="auto">
          <a:xfrm>
            <a:off x="4223205" y="1194915"/>
            <a:ext cx="1463040" cy="550868"/>
          </a:xfrm>
          <a:prstGeom prst="snip2SameRect">
            <a:avLst>
              <a:gd name="adj1" fmla="val 17791"/>
              <a:gd name="adj2" fmla="val 18546"/>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40" name="Rectangle: Top Corners Snipped 39">
            <a:extLst>
              <a:ext uri="{FF2B5EF4-FFF2-40B4-BE49-F238E27FC236}">
                <a16:creationId xmlns:a16="http://schemas.microsoft.com/office/drawing/2014/main" id="{D04E3C79-5779-4BBE-8546-A9C35E852280}"/>
              </a:ext>
            </a:extLst>
          </p:cNvPr>
          <p:cNvSpPr/>
          <p:nvPr/>
        </p:nvSpPr>
        <p:spPr bwMode="auto">
          <a:xfrm>
            <a:off x="6126051" y="1194915"/>
            <a:ext cx="1463040" cy="550868"/>
          </a:xfrm>
          <a:prstGeom prst="snip2SameRect">
            <a:avLst>
              <a:gd name="adj1" fmla="val 17791"/>
              <a:gd name="adj2" fmla="val 18546"/>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41" name="Rectangle: Top Corners Snipped 40">
            <a:extLst>
              <a:ext uri="{FF2B5EF4-FFF2-40B4-BE49-F238E27FC236}">
                <a16:creationId xmlns:a16="http://schemas.microsoft.com/office/drawing/2014/main" id="{98092C99-0740-4309-9401-2BDB2D973CE8}"/>
              </a:ext>
            </a:extLst>
          </p:cNvPr>
          <p:cNvSpPr/>
          <p:nvPr/>
        </p:nvSpPr>
        <p:spPr bwMode="auto">
          <a:xfrm>
            <a:off x="8028897" y="1194436"/>
            <a:ext cx="1463040" cy="550868"/>
          </a:xfrm>
          <a:prstGeom prst="snip2SameRect">
            <a:avLst>
              <a:gd name="adj1" fmla="val 17791"/>
              <a:gd name="adj2" fmla="val 18546"/>
            </a:avLst>
          </a:prstGeom>
          <a:solidFill>
            <a:srgbClr val="003F6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42" name="TextBox 41">
            <a:extLst>
              <a:ext uri="{FF2B5EF4-FFF2-40B4-BE49-F238E27FC236}">
                <a16:creationId xmlns:a16="http://schemas.microsoft.com/office/drawing/2014/main" id="{2D33C7B8-4B4D-421B-96D7-13BA65E910B4}"/>
              </a:ext>
            </a:extLst>
          </p:cNvPr>
          <p:cNvSpPr txBox="1"/>
          <p:nvPr/>
        </p:nvSpPr>
        <p:spPr>
          <a:xfrm>
            <a:off x="435162" y="1164406"/>
            <a:ext cx="1371600" cy="548640"/>
          </a:xfrm>
          <a:prstGeom prst="rect">
            <a:avLst/>
          </a:prstGeom>
          <a:noFill/>
        </p:spPr>
        <p:txBody>
          <a:bodyPr wrap="square" lIns="182880" tIns="182880" rIns="182880" bIns="182880" rtlCol="0">
            <a:noAutofit/>
          </a:bodyPr>
          <a:lstStyle/>
          <a:p>
            <a:r>
              <a:rPr lang="en-IN" dirty="0">
                <a:solidFill>
                  <a:schemeClr val="bg1"/>
                </a:solidFill>
                <a:latin typeface="+mn-lt"/>
              </a:rPr>
              <a:t>Stage</a:t>
            </a:r>
          </a:p>
          <a:p>
            <a:endParaRPr lang="en-IN" dirty="0">
              <a:solidFill>
                <a:schemeClr val="bg1"/>
              </a:solidFill>
              <a:latin typeface="+mn-lt"/>
            </a:endParaRPr>
          </a:p>
        </p:txBody>
      </p:sp>
      <p:sp>
        <p:nvSpPr>
          <p:cNvPr id="43" name="TextBox 42">
            <a:extLst>
              <a:ext uri="{FF2B5EF4-FFF2-40B4-BE49-F238E27FC236}">
                <a16:creationId xmlns:a16="http://schemas.microsoft.com/office/drawing/2014/main" id="{02722E73-D81C-4ED2-9DAC-6F2F6CC18A9A}"/>
              </a:ext>
            </a:extLst>
          </p:cNvPr>
          <p:cNvSpPr txBox="1"/>
          <p:nvPr/>
        </p:nvSpPr>
        <p:spPr>
          <a:xfrm>
            <a:off x="2379939" y="1184776"/>
            <a:ext cx="1371600" cy="548640"/>
          </a:xfrm>
          <a:prstGeom prst="rect">
            <a:avLst/>
          </a:prstGeom>
          <a:noFill/>
        </p:spPr>
        <p:txBody>
          <a:bodyPr wrap="square" lIns="182880" tIns="182880" rIns="182880" bIns="182880" rtlCol="0">
            <a:noAutofit/>
          </a:bodyPr>
          <a:lstStyle/>
          <a:p>
            <a:r>
              <a:rPr lang="en-IN" dirty="0">
                <a:solidFill>
                  <a:schemeClr val="bg1"/>
                </a:solidFill>
                <a:latin typeface="+mn-lt"/>
              </a:rPr>
              <a:t>Awareness</a:t>
            </a:r>
          </a:p>
          <a:p>
            <a:endParaRPr lang="en-IN" dirty="0">
              <a:solidFill>
                <a:schemeClr val="bg1"/>
              </a:solidFill>
              <a:latin typeface="+mn-lt"/>
            </a:endParaRPr>
          </a:p>
        </p:txBody>
      </p:sp>
      <p:sp>
        <p:nvSpPr>
          <p:cNvPr id="44" name="TextBox 43">
            <a:extLst>
              <a:ext uri="{FF2B5EF4-FFF2-40B4-BE49-F238E27FC236}">
                <a16:creationId xmlns:a16="http://schemas.microsoft.com/office/drawing/2014/main" id="{39D6114A-1E71-4676-B483-5E10577586E0}"/>
              </a:ext>
            </a:extLst>
          </p:cNvPr>
          <p:cNvSpPr txBox="1"/>
          <p:nvPr/>
        </p:nvSpPr>
        <p:spPr>
          <a:xfrm>
            <a:off x="4184723" y="1172197"/>
            <a:ext cx="1514516" cy="489595"/>
          </a:xfrm>
          <a:prstGeom prst="rect">
            <a:avLst/>
          </a:prstGeom>
          <a:noFill/>
        </p:spPr>
        <p:txBody>
          <a:bodyPr wrap="square" lIns="182880" tIns="182880" rIns="182880" bIns="182880" rtlCol="0">
            <a:noAutofit/>
          </a:bodyPr>
          <a:lstStyle/>
          <a:p>
            <a:r>
              <a:rPr lang="en-IN" dirty="0">
                <a:solidFill>
                  <a:schemeClr val="bg1"/>
                </a:solidFill>
                <a:latin typeface="+mn-lt"/>
              </a:rPr>
              <a:t>Consideration</a:t>
            </a:r>
          </a:p>
          <a:p>
            <a:endParaRPr lang="en-IN" dirty="0">
              <a:solidFill>
                <a:schemeClr val="bg1"/>
              </a:solidFill>
              <a:latin typeface="+mn-lt"/>
            </a:endParaRPr>
          </a:p>
        </p:txBody>
      </p:sp>
      <p:sp>
        <p:nvSpPr>
          <p:cNvPr id="45" name="TextBox 44">
            <a:extLst>
              <a:ext uri="{FF2B5EF4-FFF2-40B4-BE49-F238E27FC236}">
                <a16:creationId xmlns:a16="http://schemas.microsoft.com/office/drawing/2014/main" id="{80606836-4960-46D1-9CA8-CAB47A74AE52}"/>
              </a:ext>
            </a:extLst>
          </p:cNvPr>
          <p:cNvSpPr txBox="1"/>
          <p:nvPr/>
        </p:nvSpPr>
        <p:spPr>
          <a:xfrm>
            <a:off x="6125911" y="1184776"/>
            <a:ext cx="1371600" cy="548640"/>
          </a:xfrm>
          <a:prstGeom prst="rect">
            <a:avLst/>
          </a:prstGeom>
          <a:noFill/>
        </p:spPr>
        <p:txBody>
          <a:bodyPr wrap="square" lIns="182880" tIns="182880" rIns="182880" bIns="182880" rtlCol="0">
            <a:noAutofit/>
          </a:bodyPr>
          <a:lstStyle/>
          <a:p>
            <a:r>
              <a:rPr lang="en-IN" dirty="0">
                <a:solidFill>
                  <a:schemeClr val="bg1"/>
                </a:solidFill>
                <a:latin typeface="+mn-lt"/>
              </a:rPr>
              <a:t>Decision</a:t>
            </a:r>
          </a:p>
          <a:p>
            <a:endParaRPr lang="en-IN" dirty="0">
              <a:solidFill>
                <a:schemeClr val="bg1"/>
              </a:solidFill>
              <a:latin typeface="+mn-lt"/>
            </a:endParaRPr>
          </a:p>
        </p:txBody>
      </p:sp>
      <p:sp>
        <p:nvSpPr>
          <p:cNvPr id="46" name="TextBox 45">
            <a:extLst>
              <a:ext uri="{FF2B5EF4-FFF2-40B4-BE49-F238E27FC236}">
                <a16:creationId xmlns:a16="http://schemas.microsoft.com/office/drawing/2014/main" id="{E29C7C0B-189B-4813-B0AE-E0CB730050D3}"/>
              </a:ext>
            </a:extLst>
          </p:cNvPr>
          <p:cNvSpPr txBox="1"/>
          <p:nvPr/>
        </p:nvSpPr>
        <p:spPr>
          <a:xfrm>
            <a:off x="8099238" y="1152169"/>
            <a:ext cx="1371600" cy="548640"/>
          </a:xfrm>
          <a:prstGeom prst="rect">
            <a:avLst/>
          </a:prstGeom>
          <a:noFill/>
        </p:spPr>
        <p:txBody>
          <a:bodyPr wrap="square" lIns="182880" tIns="182880" rIns="182880" bIns="182880" rtlCol="0">
            <a:noAutofit/>
          </a:bodyPr>
          <a:lstStyle/>
          <a:p>
            <a:r>
              <a:rPr lang="en-IN" dirty="0">
                <a:solidFill>
                  <a:schemeClr val="bg1"/>
                </a:solidFill>
                <a:latin typeface="+mn-lt"/>
              </a:rPr>
              <a:t>Delight</a:t>
            </a:r>
          </a:p>
          <a:p>
            <a:endParaRPr lang="en-IN" dirty="0">
              <a:solidFill>
                <a:schemeClr val="bg1"/>
              </a:solidFill>
              <a:latin typeface="+mn-lt"/>
            </a:endParaRPr>
          </a:p>
        </p:txBody>
      </p:sp>
      <p:cxnSp>
        <p:nvCxnSpPr>
          <p:cNvPr id="47" name="Straight Connector 46">
            <a:extLst>
              <a:ext uri="{FF2B5EF4-FFF2-40B4-BE49-F238E27FC236}">
                <a16:creationId xmlns:a16="http://schemas.microsoft.com/office/drawing/2014/main" id="{83C7039D-9C5B-4861-A866-3A2A9DDA4BAC}"/>
              </a:ext>
            </a:extLst>
          </p:cNvPr>
          <p:cNvCxnSpPr>
            <a:cxnSpLocks/>
            <a:stCxn id="41" idx="1"/>
            <a:endCxn id="66" idx="0"/>
          </p:cNvCxnSpPr>
          <p:nvPr/>
        </p:nvCxnSpPr>
        <p:spPr bwMode="auto">
          <a:xfrm>
            <a:off x="8760417" y="1745304"/>
            <a:ext cx="4051" cy="903556"/>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36B019C3-77FD-4178-BF91-B8B9F2FB7981}"/>
              </a:ext>
            </a:extLst>
          </p:cNvPr>
          <p:cNvCxnSpPr>
            <a:cxnSpLocks/>
            <a:stCxn id="35" idx="1"/>
            <a:endCxn id="54" idx="0"/>
          </p:cNvCxnSpPr>
          <p:nvPr/>
        </p:nvCxnSpPr>
        <p:spPr bwMode="auto">
          <a:xfrm>
            <a:off x="1149033" y="1745783"/>
            <a:ext cx="3492" cy="889677"/>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0FA39C27-5339-489B-8AD1-27AC7E0808D7}"/>
              </a:ext>
            </a:extLst>
          </p:cNvPr>
          <p:cNvCxnSpPr>
            <a:stCxn id="43" idx="2"/>
            <a:endCxn id="43" idx="2"/>
          </p:cNvCxnSpPr>
          <p:nvPr/>
        </p:nvCxnSpPr>
        <p:spPr bwMode="auto">
          <a:xfrm>
            <a:off x="3065739" y="1733416"/>
            <a:ext cx="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9E0F967F-45AE-4CEE-B7AE-164B6928B61C}"/>
              </a:ext>
            </a:extLst>
          </p:cNvPr>
          <p:cNvCxnSpPr>
            <a:cxnSpLocks/>
            <a:stCxn id="39" idx="1"/>
            <a:endCxn id="60" idx="0"/>
          </p:cNvCxnSpPr>
          <p:nvPr/>
        </p:nvCxnSpPr>
        <p:spPr bwMode="auto">
          <a:xfrm>
            <a:off x="4954725" y="1745783"/>
            <a:ext cx="3772" cy="90049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B7A31201-264F-4E39-8DEF-36F810A4CA88}"/>
              </a:ext>
            </a:extLst>
          </p:cNvPr>
          <p:cNvCxnSpPr>
            <a:cxnSpLocks/>
            <a:stCxn id="40" idx="1"/>
            <a:endCxn id="63" idx="0"/>
          </p:cNvCxnSpPr>
          <p:nvPr/>
        </p:nvCxnSpPr>
        <p:spPr bwMode="auto">
          <a:xfrm>
            <a:off x="6857571" y="1745783"/>
            <a:ext cx="3912" cy="897402"/>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E435B5B2-AA85-44A3-BEFD-BEF96C2515BF}"/>
              </a:ext>
            </a:extLst>
          </p:cNvPr>
          <p:cNvCxnSpPr>
            <a:stCxn id="36" idx="1"/>
            <a:endCxn id="57" idx="0"/>
          </p:cNvCxnSpPr>
          <p:nvPr/>
        </p:nvCxnSpPr>
        <p:spPr bwMode="auto">
          <a:xfrm>
            <a:off x="3051879" y="1745783"/>
            <a:ext cx="3632" cy="891878"/>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nvGrpSpPr>
          <p:cNvPr id="53" name="Group 52">
            <a:extLst>
              <a:ext uri="{FF2B5EF4-FFF2-40B4-BE49-F238E27FC236}">
                <a16:creationId xmlns:a16="http://schemas.microsoft.com/office/drawing/2014/main" id="{A473FCB2-EAB4-4D35-A479-FD8618C5500B}"/>
              </a:ext>
            </a:extLst>
          </p:cNvPr>
          <p:cNvGrpSpPr/>
          <p:nvPr/>
        </p:nvGrpSpPr>
        <p:grpSpPr>
          <a:xfrm>
            <a:off x="649605" y="2635460"/>
            <a:ext cx="1005840" cy="1005840"/>
            <a:chOff x="785741" y="2828844"/>
            <a:chExt cx="1005840" cy="1005840"/>
          </a:xfrm>
        </p:grpSpPr>
        <p:sp>
          <p:nvSpPr>
            <p:cNvPr id="54" name="Oval 53">
              <a:extLst>
                <a:ext uri="{FF2B5EF4-FFF2-40B4-BE49-F238E27FC236}">
                  <a16:creationId xmlns:a16="http://schemas.microsoft.com/office/drawing/2014/main" id="{B25A5376-B680-4233-A1AF-D84EE2E9F2F1}"/>
                </a:ext>
              </a:extLst>
            </p:cNvPr>
            <p:cNvSpPr/>
            <p:nvPr/>
          </p:nvSpPr>
          <p:spPr bwMode="auto">
            <a:xfrm>
              <a:off x="785741" y="2828844"/>
              <a:ext cx="1005840" cy="1005840"/>
            </a:xfrm>
            <a:prstGeom prst="ellipse">
              <a:avLst/>
            </a:prstGeom>
            <a:solidFill>
              <a:srgbClr val="F2F2F2"/>
            </a:solidFill>
            <a:ln w="76200">
              <a:solidFill>
                <a:srgbClr val="07AADB"/>
              </a:solidFill>
              <a:round/>
              <a:headEnd/>
              <a:tailEnd/>
            </a:ln>
          </p:spPr>
          <p:txBody>
            <a:bodyPr wrap="square" lIns="0" tIns="0" rIns="0" bIns="0" rtlCol="0" anchor="ctr">
              <a:noAutofit/>
            </a:bodyPr>
            <a:lstStyle/>
            <a:p>
              <a:pPr algn="l"/>
              <a:endParaRPr lang="en-US" dirty="0">
                <a:solidFill>
                  <a:schemeClr val="tx2"/>
                </a:solidFill>
              </a:endParaRPr>
            </a:p>
          </p:txBody>
        </p:sp>
        <p:sp>
          <p:nvSpPr>
            <p:cNvPr id="55" name="Graphic 5">
              <a:extLst>
                <a:ext uri="{FF2B5EF4-FFF2-40B4-BE49-F238E27FC236}">
                  <a16:creationId xmlns:a16="http://schemas.microsoft.com/office/drawing/2014/main" id="{0F51D184-5D5E-4284-9236-BB7AD5A56363}"/>
                </a:ext>
              </a:extLst>
            </p:cNvPr>
            <p:cNvSpPr/>
            <p:nvPr/>
          </p:nvSpPr>
          <p:spPr>
            <a:xfrm>
              <a:off x="1060061" y="3103164"/>
              <a:ext cx="457200" cy="457200"/>
            </a:xfrm>
            <a:custGeom>
              <a:avLst/>
              <a:gdLst>
                <a:gd name="connsiteX0" fmla="*/ 64146 w 3127876"/>
                <a:gd name="connsiteY0" fmla="*/ 3116280 h 3127625"/>
                <a:gd name="connsiteX1" fmla="*/ 0 w 3127876"/>
                <a:gd name="connsiteY1" fmla="*/ 2940512 h 3127625"/>
                <a:gd name="connsiteX2" fmla="*/ 12743 w 3127876"/>
                <a:gd name="connsiteY2" fmla="*/ 2818153 h 3127625"/>
                <a:gd name="connsiteX3" fmla="*/ 85815 w 3127876"/>
                <a:gd name="connsiteY3" fmla="*/ 2762827 h 3127625"/>
                <a:gd name="connsiteX4" fmla="*/ 109965 w 3127876"/>
                <a:gd name="connsiteY4" fmla="*/ 2759595 h 3127625"/>
                <a:gd name="connsiteX5" fmla="*/ 109965 w 3127876"/>
                <a:gd name="connsiteY5" fmla="*/ 2113903 h 3127625"/>
                <a:gd name="connsiteX6" fmla="*/ 90110 w 3127876"/>
                <a:gd name="connsiteY6" fmla="*/ 2103905 h 3127625"/>
                <a:gd name="connsiteX7" fmla="*/ 45106 w 3127876"/>
                <a:gd name="connsiteY7" fmla="*/ 1854338 h 3127625"/>
                <a:gd name="connsiteX8" fmla="*/ 90110 w 3127876"/>
                <a:gd name="connsiteY8" fmla="*/ 1820972 h 3127625"/>
                <a:gd name="connsiteX9" fmla="*/ 109965 w 3127876"/>
                <a:gd name="connsiteY9" fmla="*/ 1812752 h 3127625"/>
                <a:gd name="connsiteX10" fmla="*/ 109965 w 3127876"/>
                <a:gd name="connsiteY10" fmla="*/ 366291 h 3127625"/>
                <a:gd name="connsiteX11" fmla="*/ 93165 w 3127876"/>
                <a:gd name="connsiteY11" fmla="*/ 366199 h 3127625"/>
                <a:gd name="connsiteX12" fmla="*/ 14205 w 3127876"/>
                <a:gd name="connsiteY12" fmla="*/ 311866 h 3127625"/>
                <a:gd name="connsiteX13" fmla="*/ 0 w 3127876"/>
                <a:gd name="connsiteY13" fmla="*/ 187960 h 3127625"/>
                <a:gd name="connsiteX14" fmla="*/ 64146 w 3127876"/>
                <a:gd name="connsiteY14" fmla="*/ 11222 h 3127625"/>
                <a:gd name="connsiteX15" fmla="*/ 1563939 w 3127876"/>
                <a:gd name="connsiteY15" fmla="*/ 0 h 3127625"/>
                <a:gd name="connsiteX16" fmla="*/ 3063733 w 3127876"/>
                <a:gd name="connsiteY16" fmla="*/ 11222 h 3127625"/>
                <a:gd name="connsiteX17" fmla="*/ 3127876 w 3127876"/>
                <a:gd name="connsiteY17" fmla="*/ 187960 h 3127625"/>
                <a:gd name="connsiteX18" fmla="*/ 3113676 w 3127876"/>
                <a:gd name="connsiteY18" fmla="*/ 311866 h 3127625"/>
                <a:gd name="connsiteX19" fmla="*/ 3034709 w 3127876"/>
                <a:gd name="connsiteY19" fmla="*/ 366199 h 3127625"/>
                <a:gd name="connsiteX20" fmla="*/ 3017923 w 3127876"/>
                <a:gd name="connsiteY20" fmla="*/ 366291 h 3127625"/>
                <a:gd name="connsiteX21" fmla="*/ 3017923 w 3127876"/>
                <a:gd name="connsiteY21" fmla="*/ 1812752 h 3127625"/>
                <a:gd name="connsiteX22" fmla="*/ 3037780 w 3127876"/>
                <a:gd name="connsiteY22" fmla="*/ 1820972 h 3127625"/>
                <a:gd name="connsiteX23" fmla="*/ 3083290 w 3127876"/>
                <a:gd name="connsiteY23" fmla="*/ 1854846 h 3127625"/>
                <a:gd name="connsiteX24" fmla="*/ 3040828 w 3127876"/>
                <a:gd name="connsiteY24" fmla="*/ 2102035 h 3127625"/>
                <a:gd name="connsiteX25" fmla="*/ 3017923 w 3127876"/>
                <a:gd name="connsiteY25" fmla="*/ 2113834 h 3127625"/>
                <a:gd name="connsiteX26" fmla="*/ 3017923 w 3127876"/>
                <a:gd name="connsiteY26" fmla="*/ 2761188 h 3127625"/>
                <a:gd name="connsiteX27" fmla="*/ 3034709 w 3127876"/>
                <a:gd name="connsiteY27" fmla="*/ 2761280 h 3127625"/>
                <a:gd name="connsiteX28" fmla="*/ 3113676 w 3127876"/>
                <a:gd name="connsiteY28" fmla="*/ 2815613 h 3127625"/>
                <a:gd name="connsiteX29" fmla="*/ 3127738 w 3127876"/>
                <a:gd name="connsiteY29" fmla="*/ 2940858 h 3127625"/>
                <a:gd name="connsiteX30" fmla="*/ 3059115 w 3127876"/>
                <a:gd name="connsiteY30" fmla="*/ 3118358 h 3127625"/>
                <a:gd name="connsiteX31" fmla="*/ 1562609 w 3127876"/>
                <a:gd name="connsiteY31" fmla="*/ 3127617 h 3127625"/>
                <a:gd name="connsiteX32" fmla="*/ 64132 w 3127876"/>
                <a:gd name="connsiteY32" fmla="*/ 3116257 h 3127625"/>
                <a:gd name="connsiteX33" fmla="*/ 3034871 w 3127876"/>
                <a:gd name="connsiteY33" fmla="*/ 2948386 h 3127625"/>
                <a:gd name="connsiteX34" fmla="*/ 3029537 w 3127876"/>
                <a:gd name="connsiteY34" fmla="*/ 2855214 h 3127625"/>
                <a:gd name="connsiteX35" fmla="*/ 2544122 w 3127876"/>
                <a:gd name="connsiteY35" fmla="*/ 2846740 h 3127625"/>
                <a:gd name="connsiteX36" fmla="*/ 2065749 w 3127876"/>
                <a:gd name="connsiteY36" fmla="*/ 2846740 h 3127625"/>
                <a:gd name="connsiteX37" fmla="*/ 2053095 w 3127876"/>
                <a:gd name="connsiteY37" fmla="*/ 2830645 h 3127625"/>
                <a:gd name="connsiteX38" fmla="*/ 2053095 w 3127876"/>
                <a:gd name="connsiteY38" fmla="*/ 2777305 h 3127625"/>
                <a:gd name="connsiteX39" fmla="*/ 2065749 w 3127876"/>
                <a:gd name="connsiteY39" fmla="*/ 2761211 h 3127625"/>
                <a:gd name="connsiteX40" fmla="*/ 2205603 w 3127876"/>
                <a:gd name="connsiteY40" fmla="*/ 2761211 h 3127625"/>
                <a:gd name="connsiteX41" fmla="*/ 2351530 w 3127876"/>
                <a:gd name="connsiteY41" fmla="*/ 2749873 h 3127625"/>
                <a:gd name="connsiteX42" fmla="*/ 2416412 w 3127876"/>
                <a:gd name="connsiteY42" fmla="*/ 2598651 h 3127625"/>
                <a:gd name="connsiteX43" fmla="*/ 2554581 w 3127876"/>
                <a:gd name="connsiteY43" fmla="*/ 2293828 h 3127625"/>
                <a:gd name="connsiteX44" fmla="*/ 2636550 w 3127876"/>
                <a:gd name="connsiteY44" fmla="*/ 2122770 h 3127625"/>
                <a:gd name="connsiteX45" fmla="*/ 2612375 w 3127876"/>
                <a:gd name="connsiteY45" fmla="*/ 2105660 h 3127625"/>
                <a:gd name="connsiteX46" fmla="*/ 2519993 w 3127876"/>
                <a:gd name="connsiteY46" fmla="*/ 1963466 h 3127625"/>
                <a:gd name="connsiteX47" fmla="*/ 2519993 w 3127876"/>
                <a:gd name="connsiteY47" fmla="*/ 1920240 h 3127625"/>
                <a:gd name="connsiteX48" fmla="*/ 2474183 w 3127876"/>
                <a:gd name="connsiteY48" fmla="*/ 1889044 h 3127625"/>
                <a:gd name="connsiteX49" fmla="*/ 1991284 w 3127876"/>
                <a:gd name="connsiteY49" fmla="*/ 1270162 h 3127625"/>
                <a:gd name="connsiteX50" fmla="*/ 1863275 w 3127876"/>
                <a:gd name="connsiteY50" fmla="*/ 852793 h 3127625"/>
                <a:gd name="connsiteX51" fmla="*/ 1830787 w 3127876"/>
                <a:gd name="connsiteY51" fmla="*/ 855195 h 3127625"/>
                <a:gd name="connsiteX52" fmla="*/ 1563928 w 3127876"/>
                <a:gd name="connsiteY52" fmla="*/ 922274 h 3127625"/>
                <a:gd name="connsiteX53" fmla="*/ 1303198 w 3127876"/>
                <a:gd name="connsiteY53" fmla="*/ 857527 h 3127625"/>
                <a:gd name="connsiteX54" fmla="*/ 1271819 w 3127876"/>
                <a:gd name="connsiteY54" fmla="*/ 842841 h 3127625"/>
                <a:gd name="connsiteX55" fmla="*/ 1261845 w 3127876"/>
                <a:gd name="connsiteY55" fmla="*/ 870296 h 3127625"/>
                <a:gd name="connsiteX56" fmla="*/ 1203370 w 3127876"/>
                <a:gd name="connsiteY56" fmla="*/ 1095294 h 3127625"/>
                <a:gd name="connsiteX57" fmla="*/ 1127945 w 3127876"/>
                <a:gd name="connsiteY57" fmla="*/ 1129538 h 3127625"/>
                <a:gd name="connsiteX58" fmla="*/ 1132799 w 3127876"/>
                <a:gd name="connsiteY58" fmla="*/ 1014545 h 3127625"/>
                <a:gd name="connsiteX59" fmla="*/ 1179738 w 3127876"/>
                <a:gd name="connsiteY59" fmla="*/ 773407 h 3127625"/>
                <a:gd name="connsiteX60" fmla="*/ 1120058 w 3127876"/>
                <a:gd name="connsiteY60" fmla="*/ 786384 h 3127625"/>
                <a:gd name="connsiteX61" fmla="*/ 1014708 w 3127876"/>
                <a:gd name="connsiteY61" fmla="*/ 818226 h 3127625"/>
                <a:gd name="connsiteX62" fmla="*/ 962195 w 3127876"/>
                <a:gd name="connsiteY62" fmla="*/ 828848 h 3127625"/>
                <a:gd name="connsiteX63" fmla="*/ 942862 w 3127876"/>
                <a:gd name="connsiteY63" fmla="*/ 925045 h 3127625"/>
                <a:gd name="connsiteX64" fmla="*/ 572942 w 3127876"/>
                <a:gd name="connsiteY64" fmla="*/ 1705656 h 3127625"/>
                <a:gd name="connsiteX65" fmla="*/ 504520 w 3127876"/>
                <a:gd name="connsiteY65" fmla="*/ 1783265 h 3127625"/>
                <a:gd name="connsiteX66" fmla="*/ 482797 w 3127876"/>
                <a:gd name="connsiteY66" fmla="*/ 1804231 h 3127625"/>
                <a:gd name="connsiteX67" fmla="*/ 520877 w 3127876"/>
                <a:gd name="connsiteY67" fmla="*/ 1822981 h 3127625"/>
                <a:gd name="connsiteX68" fmla="*/ 638376 w 3127876"/>
                <a:gd name="connsiteY68" fmla="*/ 1786336 h 3127625"/>
                <a:gd name="connsiteX69" fmla="*/ 1006149 w 3127876"/>
                <a:gd name="connsiteY69" fmla="*/ 1328559 h 3127625"/>
                <a:gd name="connsiteX70" fmla="*/ 1074125 w 3127876"/>
                <a:gd name="connsiteY70" fmla="*/ 1252174 h 3127625"/>
                <a:gd name="connsiteX71" fmla="*/ 1086458 w 3127876"/>
                <a:gd name="connsiteY71" fmla="*/ 1373817 h 3127625"/>
                <a:gd name="connsiteX72" fmla="*/ 653271 w 3127876"/>
                <a:gd name="connsiteY72" fmla="*/ 1889090 h 3127625"/>
                <a:gd name="connsiteX73" fmla="*/ 607061 w 3127876"/>
                <a:gd name="connsiteY73" fmla="*/ 1920794 h 3127625"/>
                <a:gd name="connsiteX74" fmla="*/ 609749 w 3127876"/>
                <a:gd name="connsiteY74" fmla="*/ 1953214 h 3127625"/>
                <a:gd name="connsiteX75" fmla="*/ 517866 w 3127876"/>
                <a:gd name="connsiteY75" fmla="*/ 2104667 h 3127625"/>
                <a:gd name="connsiteX76" fmla="*/ 489860 w 3127876"/>
                <a:gd name="connsiteY76" fmla="*/ 2117229 h 3127625"/>
                <a:gd name="connsiteX77" fmla="*/ 515989 w 3127876"/>
                <a:gd name="connsiteY77" fmla="*/ 2174286 h 3127625"/>
                <a:gd name="connsiteX78" fmla="*/ 712554 w 3127876"/>
                <a:gd name="connsiteY78" fmla="*/ 2601745 h 3127625"/>
                <a:gd name="connsiteX79" fmla="*/ 776321 w 3127876"/>
                <a:gd name="connsiteY79" fmla="*/ 2749897 h 3127625"/>
                <a:gd name="connsiteX80" fmla="*/ 1338094 w 3127876"/>
                <a:gd name="connsiteY80" fmla="*/ 2761234 h 3127625"/>
                <a:gd name="connsiteX81" fmla="*/ 1906037 w 3127876"/>
                <a:gd name="connsiteY81" fmla="*/ 2773449 h 3127625"/>
                <a:gd name="connsiteX82" fmla="*/ 1918251 w 3127876"/>
                <a:gd name="connsiteY82" fmla="*/ 2803998 h 3127625"/>
                <a:gd name="connsiteX83" fmla="*/ 1906037 w 3127876"/>
                <a:gd name="connsiteY83" fmla="*/ 2834548 h 3127625"/>
                <a:gd name="connsiteX84" fmla="*/ 1000037 w 3127876"/>
                <a:gd name="connsiteY84" fmla="*/ 2846763 h 3127625"/>
                <a:gd name="connsiteX85" fmla="*/ 98937 w 3127876"/>
                <a:gd name="connsiteY85" fmla="*/ 2854083 h 3127625"/>
                <a:gd name="connsiteX86" fmla="*/ 95693 w 3127876"/>
                <a:gd name="connsiteY86" fmla="*/ 3032090 h 3127625"/>
                <a:gd name="connsiteX87" fmla="*/ 1566463 w 3127876"/>
                <a:gd name="connsiteY87" fmla="*/ 3034630 h 3127625"/>
                <a:gd name="connsiteX88" fmla="*/ 3033162 w 3127876"/>
                <a:gd name="connsiteY88" fmla="*/ 3033107 h 3127625"/>
                <a:gd name="connsiteX89" fmla="*/ 387171 w 3127876"/>
                <a:gd name="connsiteY89" fmla="*/ 2756454 h 3127625"/>
                <a:gd name="connsiteX90" fmla="*/ 269737 w 3127876"/>
                <a:gd name="connsiteY90" fmla="*/ 2254042 h 3127625"/>
                <a:gd name="connsiteX91" fmla="*/ 214056 w 3127876"/>
                <a:gd name="connsiteY91" fmla="*/ 2119699 h 3127625"/>
                <a:gd name="connsiteX92" fmla="*/ 201687 w 3127876"/>
                <a:gd name="connsiteY92" fmla="*/ 2436368 h 3127625"/>
                <a:gd name="connsiteX93" fmla="*/ 205760 w 3127876"/>
                <a:gd name="connsiteY93" fmla="*/ 2757124 h 3127625"/>
                <a:gd name="connsiteX94" fmla="*/ 387173 w 3127876"/>
                <a:gd name="connsiteY94" fmla="*/ 2756454 h 3127625"/>
                <a:gd name="connsiteX95" fmla="*/ 678194 w 3127876"/>
                <a:gd name="connsiteY95" fmla="*/ 2758232 h 3127625"/>
                <a:gd name="connsiteX96" fmla="*/ 561711 w 3127876"/>
                <a:gd name="connsiteY96" fmla="*/ 2481950 h 3127625"/>
                <a:gd name="connsiteX97" fmla="*/ 452286 w 3127876"/>
                <a:gd name="connsiteY97" fmla="*/ 2254366 h 3127625"/>
                <a:gd name="connsiteX98" fmla="*/ 384901 w 3127876"/>
                <a:gd name="connsiteY98" fmla="*/ 2119699 h 3127625"/>
                <a:gd name="connsiteX99" fmla="*/ 353728 w 3127876"/>
                <a:gd name="connsiteY99" fmla="*/ 2119699 h 3127625"/>
                <a:gd name="connsiteX100" fmla="*/ 326590 w 3127876"/>
                <a:gd name="connsiteY100" fmla="*/ 2130206 h 3127625"/>
                <a:gd name="connsiteX101" fmla="*/ 479241 w 3127876"/>
                <a:gd name="connsiteY101" fmla="*/ 2738282 h 3127625"/>
                <a:gd name="connsiteX102" fmla="*/ 483257 w 3127876"/>
                <a:gd name="connsiteY102" fmla="*/ 2761211 h 3127625"/>
                <a:gd name="connsiteX103" fmla="*/ 580725 w 3127876"/>
                <a:gd name="connsiteY103" fmla="*/ 2761211 h 3127625"/>
                <a:gd name="connsiteX104" fmla="*/ 678194 w 3127876"/>
                <a:gd name="connsiteY104" fmla="*/ 2758232 h 3127625"/>
                <a:gd name="connsiteX105" fmla="*/ 2645347 w 3127876"/>
                <a:gd name="connsiteY105" fmla="*/ 2759317 h 3127625"/>
                <a:gd name="connsiteX106" fmla="*/ 2688294 w 3127876"/>
                <a:gd name="connsiteY106" fmla="*/ 2541270 h 3127625"/>
                <a:gd name="connsiteX107" fmla="*/ 2788665 w 3127876"/>
                <a:gd name="connsiteY107" fmla="*/ 2169044 h 3127625"/>
                <a:gd name="connsiteX108" fmla="*/ 2804181 w 3127876"/>
                <a:gd name="connsiteY108" fmla="*/ 2121685 h 3127625"/>
                <a:gd name="connsiteX109" fmla="*/ 2773264 w 3127876"/>
                <a:gd name="connsiteY109" fmla="*/ 2119723 h 3127625"/>
                <a:gd name="connsiteX110" fmla="*/ 2742347 w 3127876"/>
                <a:gd name="connsiteY110" fmla="*/ 2119723 h 3127625"/>
                <a:gd name="connsiteX111" fmla="*/ 2654490 w 3127876"/>
                <a:gd name="connsiteY111" fmla="*/ 2298423 h 3127625"/>
                <a:gd name="connsiteX112" fmla="*/ 2453333 w 3127876"/>
                <a:gd name="connsiteY112" fmla="*/ 2747472 h 3127625"/>
                <a:gd name="connsiteX113" fmla="*/ 2449038 w 3127876"/>
                <a:gd name="connsiteY113" fmla="*/ 2761211 h 3127625"/>
                <a:gd name="connsiteX114" fmla="*/ 2547192 w 3127876"/>
                <a:gd name="connsiteY114" fmla="*/ 2761211 h 3127625"/>
                <a:gd name="connsiteX115" fmla="*/ 2645347 w 3127876"/>
                <a:gd name="connsiteY115" fmla="*/ 2759341 h 3127625"/>
                <a:gd name="connsiteX116" fmla="*/ 2924894 w 3127876"/>
                <a:gd name="connsiteY116" fmla="*/ 2438908 h 3127625"/>
                <a:gd name="connsiteX117" fmla="*/ 2914042 w 3127876"/>
                <a:gd name="connsiteY117" fmla="*/ 2119699 h 3127625"/>
                <a:gd name="connsiteX118" fmla="*/ 2859158 w 3127876"/>
                <a:gd name="connsiteY118" fmla="*/ 2250579 h 3127625"/>
                <a:gd name="connsiteX119" fmla="*/ 2740985 w 3127876"/>
                <a:gd name="connsiteY119" fmla="*/ 2756616 h 3127625"/>
                <a:gd name="connsiteX120" fmla="*/ 2833667 w 3127876"/>
                <a:gd name="connsiteY120" fmla="*/ 2759849 h 3127625"/>
                <a:gd name="connsiteX121" fmla="*/ 2923324 w 3127876"/>
                <a:gd name="connsiteY121" fmla="*/ 2758163 h 3127625"/>
                <a:gd name="connsiteX122" fmla="*/ 498625 w 3127876"/>
                <a:gd name="connsiteY122" fmla="*/ 2007270 h 3127625"/>
                <a:gd name="connsiteX123" fmla="*/ 482656 w 3127876"/>
                <a:gd name="connsiteY123" fmla="*/ 1904353 h 3127625"/>
                <a:gd name="connsiteX124" fmla="*/ 306906 w 3127876"/>
                <a:gd name="connsiteY124" fmla="*/ 1893639 h 3127625"/>
                <a:gd name="connsiteX125" fmla="*/ 100173 w 3127876"/>
                <a:gd name="connsiteY125" fmla="*/ 1932340 h 3127625"/>
                <a:gd name="connsiteX126" fmla="*/ 116866 w 3127876"/>
                <a:gd name="connsiteY126" fmla="*/ 2012396 h 3127625"/>
                <a:gd name="connsiteX127" fmla="*/ 135456 w 3127876"/>
                <a:gd name="connsiteY127" fmla="*/ 2028052 h 3127625"/>
                <a:gd name="connsiteX128" fmla="*/ 477854 w 3127876"/>
                <a:gd name="connsiteY128" fmla="*/ 2028052 h 3127625"/>
                <a:gd name="connsiteX129" fmla="*/ 3011250 w 3127876"/>
                <a:gd name="connsiteY129" fmla="*/ 2012396 h 3127625"/>
                <a:gd name="connsiteX130" fmla="*/ 3027944 w 3127876"/>
                <a:gd name="connsiteY130" fmla="*/ 1932340 h 3127625"/>
                <a:gd name="connsiteX131" fmla="*/ 2821222 w 3127876"/>
                <a:gd name="connsiteY131" fmla="*/ 1893639 h 3127625"/>
                <a:gd name="connsiteX132" fmla="*/ 2645463 w 3127876"/>
                <a:gd name="connsiteY132" fmla="*/ 1904353 h 3127625"/>
                <a:gd name="connsiteX133" fmla="*/ 2629484 w 3127876"/>
                <a:gd name="connsiteY133" fmla="*/ 2007270 h 3127625"/>
                <a:gd name="connsiteX134" fmla="*/ 2650265 w 3127876"/>
                <a:gd name="connsiteY134" fmla="*/ 2028052 h 3127625"/>
                <a:gd name="connsiteX135" fmla="*/ 2992663 w 3127876"/>
                <a:gd name="connsiteY135" fmla="*/ 2028052 h 3127625"/>
                <a:gd name="connsiteX136" fmla="*/ 2601153 w 3127876"/>
                <a:gd name="connsiteY136" fmla="*/ 1759250 h 3127625"/>
                <a:gd name="connsiteX137" fmla="*/ 2505585 w 3127876"/>
                <a:gd name="connsiteY137" fmla="*/ 1643149 h 3127625"/>
                <a:gd name="connsiteX138" fmla="*/ 2173555 w 3127876"/>
                <a:gd name="connsiteY138" fmla="*/ 870897 h 3127625"/>
                <a:gd name="connsiteX139" fmla="*/ 2165819 w 3127876"/>
                <a:gd name="connsiteY139" fmla="*/ 828733 h 3127625"/>
                <a:gd name="connsiteX140" fmla="*/ 2113290 w 3127876"/>
                <a:gd name="connsiteY140" fmla="*/ 818157 h 3127625"/>
                <a:gd name="connsiteX141" fmla="*/ 2007932 w 3127876"/>
                <a:gd name="connsiteY141" fmla="*/ 786338 h 3127625"/>
                <a:gd name="connsiteX142" fmla="*/ 1957111 w 3127876"/>
                <a:gd name="connsiteY142" fmla="*/ 859536 h 3127625"/>
                <a:gd name="connsiteX143" fmla="*/ 2261688 w 3127876"/>
                <a:gd name="connsiteY143" fmla="*/ 1550093 h 3127625"/>
                <a:gd name="connsiteX144" fmla="*/ 2489584 w 3127876"/>
                <a:gd name="connsiteY144" fmla="*/ 1786266 h 3127625"/>
                <a:gd name="connsiteX145" fmla="*/ 2605286 w 3127876"/>
                <a:gd name="connsiteY145" fmla="*/ 1823466 h 3127625"/>
                <a:gd name="connsiteX146" fmla="*/ 2643638 w 3127876"/>
                <a:gd name="connsiteY146" fmla="*/ 1805109 h 3127625"/>
                <a:gd name="connsiteX147" fmla="*/ 426724 w 3127876"/>
                <a:gd name="connsiteY147" fmla="*/ 1731726 h 3127625"/>
                <a:gd name="connsiteX148" fmla="*/ 815139 w 3127876"/>
                <a:gd name="connsiteY148" fmla="*/ 1067031 h 3127625"/>
                <a:gd name="connsiteX149" fmla="*/ 865650 w 3127876"/>
                <a:gd name="connsiteY149" fmla="*/ 830580 h 3127625"/>
                <a:gd name="connsiteX150" fmla="*/ 709681 w 3127876"/>
                <a:gd name="connsiteY150" fmla="*/ 794628 h 3127625"/>
                <a:gd name="connsiteX151" fmla="*/ 565225 w 3127876"/>
                <a:gd name="connsiteY151" fmla="*/ 717781 h 3127625"/>
                <a:gd name="connsiteX152" fmla="*/ 553006 w 3127876"/>
                <a:gd name="connsiteY152" fmla="*/ 872097 h 3127625"/>
                <a:gd name="connsiteX153" fmla="*/ 521466 w 3127876"/>
                <a:gd name="connsiteY153" fmla="*/ 1224234 h 3127625"/>
                <a:gd name="connsiteX154" fmla="*/ 321037 w 3127876"/>
                <a:gd name="connsiteY154" fmla="*/ 1750083 h 3127625"/>
                <a:gd name="connsiteX155" fmla="*/ 293367 w 3127876"/>
                <a:gd name="connsiteY155" fmla="*/ 1799428 h 3127625"/>
                <a:gd name="connsiteX156" fmla="*/ 326276 w 3127876"/>
                <a:gd name="connsiteY156" fmla="*/ 1801991 h 3127625"/>
                <a:gd name="connsiteX157" fmla="*/ 359186 w 3127876"/>
                <a:gd name="connsiteY157" fmla="*/ 1801991 h 3127625"/>
                <a:gd name="connsiteX158" fmla="*/ 2834752 w 3127876"/>
                <a:gd name="connsiteY158" fmla="*/ 1799451 h 3127625"/>
                <a:gd name="connsiteX159" fmla="*/ 2807091 w 3127876"/>
                <a:gd name="connsiteY159" fmla="*/ 1750083 h 3127625"/>
                <a:gd name="connsiteX160" fmla="*/ 2606649 w 3127876"/>
                <a:gd name="connsiteY160" fmla="*/ 1224234 h 3127625"/>
                <a:gd name="connsiteX161" fmla="*/ 2575108 w 3127876"/>
                <a:gd name="connsiteY161" fmla="*/ 872097 h 3127625"/>
                <a:gd name="connsiteX162" fmla="*/ 2562894 w 3127876"/>
                <a:gd name="connsiteY162" fmla="*/ 717781 h 3127625"/>
                <a:gd name="connsiteX163" fmla="*/ 2283392 w 3127876"/>
                <a:gd name="connsiteY163" fmla="*/ 827486 h 3127625"/>
                <a:gd name="connsiteX164" fmla="*/ 2260487 w 3127876"/>
                <a:gd name="connsiteY164" fmla="*/ 836584 h 3127625"/>
                <a:gd name="connsiteX165" fmla="*/ 2276327 w 3127876"/>
                <a:gd name="connsiteY165" fmla="*/ 920311 h 3127625"/>
                <a:gd name="connsiteX166" fmla="*/ 2701386 w 3127876"/>
                <a:gd name="connsiteY166" fmla="*/ 1731749 h 3127625"/>
                <a:gd name="connsiteX167" fmla="*/ 2768923 w 3127876"/>
                <a:gd name="connsiteY167" fmla="*/ 1802015 h 3127625"/>
                <a:gd name="connsiteX168" fmla="*/ 2801849 w 3127876"/>
                <a:gd name="connsiteY168" fmla="*/ 1802015 h 3127625"/>
                <a:gd name="connsiteX169" fmla="*/ 2834752 w 3127876"/>
                <a:gd name="connsiteY169" fmla="*/ 1799451 h 3127625"/>
                <a:gd name="connsiteX170" fmla="*/ 247778 w 3127876"/>
                <a:gd name="connsiteY170" fmla="*/ 1695081 h 3127625"/>
                <a:gd name="connsiteX171" fmla="*/ 455491 w 3127876"/>
                <a:gd name="connsiteY171" fmla="*/ 1062782 h 3127625"/>
                <a:gd name="connsiteX172" fmla="*/ 454909 w 3127876"/>
                <a:gd name="connsiteY172" fmla="*/ 684576 h 3127625"/>
                <a:gd name="connsiteX173" fmla="*/ 415664 w 3127876"/>
                <a:gd name="connsiteY173" fmla="*/ 553235 h 3127625"/>
                <a:gd name="connsiteX174" fmla="*/ 348734 w 3127876"/>
                <a:gd name="connsiteY174" fmla="*/ 402913 h 3127625"/>
                <a:gd name="connsiteX175" fmla="*/ 338484 w 3127876"/>
                <a:gd name="connsiteY175" fmla="*/ 369316 h 3127625"/>
                <a:gd name="connsiteX176" fmla="*/ 204811 w 3127876"/>
                <a:gd name="connsiteY176" fmla="*/ 369316 h 3127625"/>
                <a:gd name="connsiteX177" fmla="*/ 203259 w 3127876"/>
                <a:gd name="connsiteY177" fmla="*/ 1068578 h 3127625"/>
                <a:gd name="connsiteX178" fmla="*/ 207170 w 3127876"/>
                <a:gd name="connsiteY178" fmla="*/ 1761998 h 3127625"/>
                <a:gd name="connsiteX179" fmla="*/ 247781 w 3127876"/>
                <a:gd name="connsiteY179" fmla="*/ 1695081 h 3127625"/>
                <a:gd name="connsiteX180" fmla="*/ 2923647 w 3127876"/>
                <a:gd name="connsiteY180" fmla="*/ 373703 h 3127625"/>
                <a:gd name="connsiteX181" fmla="*/ 2855233 w 3127876"/>
                <a:gd name="connsiteY181" fmla="*/ 367584 h 3127625"/>
                <a:gd name="connsiteX182" fmla="*/ 2789796 w 3127876"/>
                <a:gd name="connsiteY182" fmla="*/ 369339 h 3127625"/>
                <a:gd name="connsiteX183" fmla="*/ 2779544 w 3127876"/>
                <a:gd name="connsiteY183" fmla="*/ 402936 h 3127625"/>
                <a:gd name="connsiteX184" fmla="*/ 2712977 w 3127876"/>
                <a:gd name="connsiteY184" fmla="*/ 552612 h 3127625"/>
                <a:gd name="connsiteX185" fmla="*/ 2676172 w 3127876"/>
                <a:gd name="connsiteY185" fmla="*/ 650356 h 3127625"/>
                <a:gd name="connsiteX186" fmla="*/ 2669660 w 3127876"/>
                <a:gd name="connsiteY186" fmla="*/ 1035974 h 3127625"/>
                <a:gd name="connsiteX187" fmla="*/ 2896263 w 3127876"/>
                <a:gd name="connsiteY187" fmla="*/ 1722443 h 3127625"/>
                <a:gd name="connsiteX188" fmla="*/ 2923486 w 3127876"/>
                <a:gd name="connsiteY188" fmla="*/ 1768140 h 3127625"/>
                <a:gd name="connsiteX189" fmla="*/ 2925056 w 3127876"/>
                <a:gd name="connsiteY189" fmla="*/ 1074836 h 3127625"/>
                <a:gd name="connsiteX190" fmla="*/ 2923647 w 3127876"/>
                <a:gd name="connsiteY190" fmla="*/ 373703 h 3127625"/>
                <a:gd name="connsiteX191" fmla="*/ 1661955 w 3127876"/>
                <a:gd name="connsiteY191" fmla="*/ 814486 h 3127625"/>
                <a:gd name="connsiteX192" fmla="*/ 1867985 w 3127876"/>
                <a:gd name="connsiteY192" fmla="*/ 714756 h 3127625"/>
                <a:gd name="connsiteX193" fmla="*/ 2020654 w 3127876"/>
                <a:gd name="connsiteY193" fmla="*/ 502158 h 3127625"/>
                <a:gd name="connsiteX194" fmla="*/ 2047369 w 3127876"/>
                <a:gd name="connsiteY194" fmla="*/ 370540 h 3127625"/>
                <a:gd name="connsiteX195" fmla="*/ 2000751 w 3127876"/>
                <a:gd name="connsiteY195" fmla="*/ 367492 h 3127625"/>
                <a:gd name="connsiteX196" fmla="*/ 1958935 w 3127876"/>
                <a:gd name="connsiteY196" fmla="*/ 369316 h 3127625"/>
                <a:gd name="connsiteX197" fmla="*/ 1951500 w 3127876"/>
                <a:gd name="connsiteY197" fmla="*/ 409679 h 3127625"/>
                <a:gd name="connsiteX198" fmla="*/ 1828016 w 3127876"/>
                <a:gd name="connsiteY198" fmla="*/ 630128 h 3127625"/>
                <a:gd name="connsiteX199" fmla="*/ 1682667 w 3127876"/>
                <a:gd name="connsiteY199" fmla="*/ 718520 h 3127625"/>
                <a:gd name="connsiteX200" fmla="*/ 1564209 w 3127876"/>
                <a:gd name="connsiteY200" fmla="*/ 735238 h 3127625"/>
                <a:gd name="connsiteX201" fmla="*/ 1445752 w 3127876"/>
                <a:gd name="connsiteY201" fmla="*/ 718520 h 3127625"/>
                <a:gd name="connsiteX202" fmla="*/ 1300393 w 3127876"/>
                <a:gd name="connsiteY202" fmla="*/ 630128 h 3127625"/>
                <a:gd name="connsiteX203" fmla="*/ 1176872 w 3127876"/>
                <a:gd name="connsiteY203" fmla="*/ 409032 h 3127625"/>
                <a:gd name="connsiteX204" fmla="*/ 1169491 w 3127876"/>
                <a:gd name="connsiteY204" fmla="*/ 369316 h 3127625"/>
                <a:gd name="connsiteX205" fmla="*/ 1127670 w 3127876"/>
                <a:gd name="connsiteY205" fmla="*/ 367492 h 3127625"/>
                <a:gd name="connsiteX206" fmla="*/ 1081054 w 3127876"/>
                <a:gd name="connsiteY206" fmla="*/ 370540 h 3127625"/>
                <a:gd name="connsiteX207" fmla="*/ 1112572 w 3127876"/>
                <a:gd name="connsiteY207" fmla="*/ 525295 h 3127625"/>
                <a:gd name="connsiteX208" fmla="*/ 1416202 w 3127876"/>
                <a:gd name="connsiteY208" fmla="*/ 806219 h 3127625"/>
                <a:gd name="connsiteX209" fmla="*/ 1661946 w 3127876"/>
                <a:gd name="connsiteY209" fmla="*/ 814486 h 3127625"/>
                <a:gd name="connsiteX210" fmla="*/ 1041880 w 3127876"/>
                <a:gd name="connsiteY210" fmla="*/ 718104 h 3127625"/>
                <a:gd name="connsiteX211" fmla="*/ 1098612 w 3127876"/>
                <a:gd name="connsiteY211" fmla="*/ 697230 h 3127625"/>
                <a:gd name="connsiteX212" fmla="*/ 1045711 w 3127876"/>
                <a:gd name="connsiteY212" fmla="*/ 620014 h 3127625"/>
                <a:gd name="connsiteX213" fmla="*/ 830882 w 3127876"/>
                <a:gd name="connsiteY213" fmla="*/ 638579 h 3127625"/>
                <a:gd name="connsiteX214" fmla="*/ 550457 w 3127876"/>
                <a:gd name="connsiteY214" fmla="*/ 416675 h 3127625"/>
                <a:gd name="connsiteX215" fmla="*/ 525326 w 3127876"/>
                <a:gd name="connsiteY215" fmla="*/ 366268 h 3127625"/>
                <a:gd name="connsiteX216" fmla="*/ 483739 w 3127876"/>
                <a:gd name="connsiteY216" fmla="*/ 366268 h 3127625"/>
                <a:gd name="connsiteX217" fmla="*/ 438585 w 3127876"/>
                <a:gd name="connsiteY217" fmla="*/ 369824 h 3127625"/>
                <a:gd name="connsiteX218" fmla="*/ 479932 w 3127876"/>
                <a:gd name="connsiteY218" fmla="*/ 481746 h 3127625"/>
                <a:gd name="connsiteX219" fmla="*/ 748304 w 3127876"/>
                <a:gd name="connsiteY219" fmla="*/ 712631 h 3127625"/>
                <a:gd name="connsiteX220" fmla="*/ 1041866 w 3127876"/>
                <a:gd name="connsiteY220" fmla="*/ 718104 h 3127625"/>
                <a:gd name="connsiteX221" fmla="*/ 2343126 w 3127876"/>
                <a:gd name="connsiteY221" fmla="*/ 724108 h 3127625"/>
                <a:gd name="connsiteX222" fmla="*/ 2529506 w 3127876"/>
                <a:gd name="connsiteY222" fmla="*/ 627403 h 3127625"/>
                <a:gd name="connsiteX223" fmla="*/ 2654860 w 3127876"/>
                <a:gd name="connsiteY223" fmla="*/ 470269 h 3127625"/>
                <a:gd name="connsiteX224" fmla="*/ 2689818 w 3127876"/>
                <a:gd name="connsiteY224" fmla="*/ 369824 h 3127625"/>
                <a:gd name="connsiteX225" fmla="*/ 2644585 w 3127876"/>
                <a:gd name="connsiteY225" fmla="*/ 366268 h 3127625"/>
                <a:gd name="connsiteX226" fmla="*/ 2602931 w 3127876"/>
                <a:gd name="connsiteY226" fmla="*/ 366268 h 3127625"/>
                <a:gd name="connsiteX227" fmla="*/ 2581896 w 3127876"/>
                <a:gd name="connsiteY227" fmla="*/ 408848 h 3127625"/>
                <a:gd name="connsiteX228" fmla="*/ 2433083 w 3127876"/>
                <a:gd name="connsiteY228" fmla="*/ 584246 h 3127625"/>
                <a:gd name="connsiteX229" fmla="*/ 2082696 w 3127876"/>
                <a:gd name="connsiteY229" fmla="*/ 620014 h 3127625"/>
                <a:gd name="connsiteX230" fmla="*/ 2029798 w 3127876"/>
                <a:gd name="connsiteY230" fmla="*/ 697114 h 3127625"/>
                <a:gd name="connsiteX231" fmla="*/ 2143099 w 3127876"/>
                <a:gd name="connsiteY231" fmla="*/ 733021 h 3127625"/>
                <a:gd name="connsiteX232" fmla="*/ 2343126 w 3127876"/>
                <a:gd name="connsiteY232" fmla="*/ 724108 h 3127625"/>
                <a:gd name="connsiteX233" fmla="*/ 1634201 w 3127876"/>
                <a:gd name="connsiteY233" fmla="*/ 637956 h 3127625"/>
                <a:gd name="connsiteX234" fmla="*/ 1777820 w 3127876"/>
                <a:gd name="connsiteY234" fmla="*/ 552335 h 3127625"/>
                <a:gd name="connsiteX235" fmla="*/ 1861243 w 3127876"/>
                <a:gd name="connsiteY235" fmla="*/ 395293 h 3127625"/>
                <a:gd name="connsiteX236" fmla="*/ 1865214 w 3127876"/>
                <a:gd name="connsiteY236" fmla="*/ 366268 h 3127625"/>
                <a:gd name="connsiteX237" fmla="*/ 1263191 w 3127876"/>
                <a:gd name="connsiteY237" fmla="*/ 366268 h 3127625"/>
                <a:gd name="connsiteX238" fmla="*/ 1267146 w 3127876"/>
                <a:gd name="connsiteY238" fmla="*/ 395293 h 3127625"/>
                <a:gd name="connsiteX239" fmla="*/ 1350588 w 3127876"/>
                <a:gd name="connsiteY239" fmla="*/ 552335 h 3127625"/>
                <a:gd name="connsiteX240" fmla="*/ 1634199 w 3127876"/>
                <a:gd name="connsiteY240" fmla="*/ 637956 h 3127625"/>
                <a:gd name="connsiteX241" fmla="*/ 974181 w 3127876"/>
                <a:gd name="connsiteY241" fmla="*/ 546377 h 3127625"/>
                <a:gd name="connsiteX242" fmla="*/ 1013965 w 3127876"/>
                <a:gd name="connsiteY242" fmla="*/ 534531 h 3127625"/>
                <a:gd name="connsiteX243" fmla="*/ 1004172 w 3127876"/>
                <a:gd name="connsiteY243" fmla="*/ 472047 h 3127625"/>
                <a:gd name="connsiteX244" fmla="*/ 986775 w 3127876"/>
                <a:gd name="connsiteY244" fmla="*/ 389174 h 3127625"/>
                <a:gd name="connsiteX245" fmla="*/ 983283 w 3127876"/>
                <a:gd name="connsiteY245" fmla="*/ 366268 h 3127625"/>
                <a:gd name="connsiteX246" fmla="*/ 806395 w 3127876"/>
                <a:gd name="connsiteY246" fmla="*/ 366268 h 3127625"/>
                <a:gd name="connsiteX247" fmla="*/ 629565 w 3127876"/>
                <a:gd name="connsiteY247" fmla="*/ 370840 h 3127625"/>
                <a:gd name="connsiteX248" fmla="*/ 700919 w 3127876"/>
                <a:gd name="connsiteY248" fmla="*/ 470939 h 3127625"/>
                <a:gd name="connsiteX249" fmla="*/ 974186 w 3127876"/>
                <a:gd name="connsiteY249" fmla="*/ 546377 h 3127625"/>
                <a:gd name="connsiteX250" fmla="*/ 2293067 w 3127876"/>
                <a:gd name="connsiteY250" fmla="*/ 546562 h 3127625"/>
                <a:gd name="connsiteX251" fmla="*/ 2427495 w 3127876"/>
                <a:gd name="connsiteY251" fmla="*/ 470939 h 3127625"/>
                <a:gd name="connsiteX252" fmla="*/ 2498843 w 3127876"/>
                <a:gd name="connsiteY252" fmla="*/ 370863 h 3127625"/>
                <a:gd name="connsiteX253" fmla="*/ 2322022 w 3127876"/>
                <a:gd name="connsiteY253" fmla="*/ 366268 h 3127625"/>
                <a:gd name="connsiteX254" fmla="*/ 2145131 w 3127876"/>
                <a:gd name="connsiteY254" fmla="*/ 366268 h 3127625"/>
                <a:gd name="connsiteX255" fmla="*/ 2141644 w 3127876"/>
                <a:gd name="connsiteY255" fmla="*/ 389174 h 3127625"/>
                <a:gd name="connsiteX256" fmla="*/ 2124235 w 3127876"/>
                <a:gd name="connsiteY256" fmla="*/ 472047 h 3127625"/>
                <a:gd name="connsiteX257" fmla="*/ 2114583 w 3127876"/>
                <a:gd name="connsiteY257" fmla="*/ 534624 h 3127625"/>
                <a:gd name="connsiteX258" fmla="*/ 2151550 w 3127876"/>
                <a:gd name="connsiteY258" fmla="*/ 546054 h 3127625"/>
                <a:gd name="connsiteX259" fmla="*/ 2293067 w 3127876"/>
                <a:gd name="connsiteY259" fmla="*/ 546562 h 3127625"/>
                <a:gd name="connsiteX260" fmla="*/ 3029837 w 3127876"/>
                <a:gd name="connsiteY260" fmla="*/ 272265 h 3127625"/>
                <a:gd name="connsiteX261" fmla="*/ 3035171 w 3127876"/>
                <a:gd name="connsiteY261" fmla="*/ 179093 h 3127625"/>
                <a:gd name="connsiteX262" fmla="*/ 3033462 w 3127876"/>
                <a:gd name="connsiteY262" fmla="*/ 94396 h 3127625"/>
                <a:gd name="connsiteX263" fmla="*/ 95063 w 3127876"/>
                <a:gd name="connsiteY263" fmla="*/ 94396 h 3127625"/>
                <a:gd name="connsiteX264" fmla="*/ 93359 w 3127876"/>
                <a:gd name="connsiteY264" fmla="*/ 179093 h 3127625"/>
                <a:gd name="connsiteX265" fmla="*/ 98690 w 3127876"/>
                <a:gd name="connsiteY265" fmla="*/ 272265 h 3127625"/>
                <a:gd name="connsiteX266" fmla="*/ 3029930 w 3127876"/>
                <a:gd name="connsiteY266" fmla="*/ 272265 h 312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Lst>
              <a:rect l="l" t="t" r="r" b="b"/>
              <a:pathLst>
                <a:path w="3127876" h="3127625">
                  <a:moveTo>
                    <a:pt x="64146" y="3116280"/>
                  </a:moveTo>
                  <a:cubicBezTo>
                    <a:pt x="9802" y="3091319"/>
                    <a:pt x="0" y="3064464"/>
                    <a:pt x="0" y="2940512"/>
                  </a:cubicBezTo>
                  <a:cubicBezTo>
                    <a:pt x="0" y="2855653"/>
                    <a:pt x="1482" y="2841429"/>
                    <a:pt x="12743" y="2818153"/>
                  </a:cubicBezTo>
                  <a:cubicBezTo>
                    <a:pt x="28167" y="2786288"/>
                    <a:pt x="53416" y="2767168"/>
                    <a:pt x="85815" y="2762827"/>
                  </a:cubicBezTo>
                  <a:lnTo>
                    <a:pt x="109965" y="2759595"/>
                  </a:lnTo>
                  <a:lnTo>
                    <a:pt x="109965" y="2113903"/>
                  </a:lnTo>
                  <a:lnTo>
                    <a:pt x="90110" y="2103905"/>
                  </a:lnTo>
                  <a:cubicBezTo>
                    <a:pt x="-6054" y="2055437"/>
                    <a:pt x="-28964" y="1928391"/>
                    <a:pt x="45106" y="1854338"/>
                  </a:cubicBezTo>
                  <a:cubicBezTo>
                    <a:pt x="58937" y="1840507"/>
                    <a:pt x="79189" y="1825498"/>
                    <a:pt x="90110" y="1820972"/>
                  </a:cubicBezTo>
                  <a:lnTo>
                    <a:pt x="109965" y="1812752"/>
                  </a:lnTo>
                  <a:lnTo>
                    <a:pt x="109965" y="366291"/>
                  </a:lnTo>
                  <a:lnTo>
                    <a:pt x="93165" y="366199"/>
                  </a:lnTo>
                  <a:cubicBezTo>
                    <a:pt x="65469" y="366037"/>
                    <a:pt x="29841" y="341514"/>
                    <a:pt x="14205" y="311866"/>
                  </a:cubicBezTo>
                  <a:cubicBezTo>
                    <a:pt x="1067" y="286974"/>
                    <a:pt x="0" y="277668"/>
                    <a:pt x="0" y="187960"/>
                  </a:cubicBezTo>
                  <a:cubicBezTo>
                    <a:pt x="0" y="62923"/>
                    <a:pt x="9695" y="36230"/>
                    <a:pt x="64146" y="11222"/>
                  </a:cubicBezTo>
                  <a:cubicBezTo>
                    <a:pt x="87644" y="416"/>
                    <a:pt x="145218" y="0"/>
                    <a:pt x="1563939" y="0"/>
                  </a:cubicBezTo>
                  <a:cubicBezTo>
                    <a:pt x="2982665" y="0"/>
                    <a:pt x="3040228" y="416"/>
                    <a:pt x="3063733" y="11222"/>
                  </a:cubicBezTo>
                  <a:cubicBezTo>
                    <a:pt x="3118178" y="36206"/>
                    <a:pt x="3127876" y="62923"/>
                    <a:pt x="3127876" y="187960"/>
                  </a:cubicBezTo>
                  <a:cubicBezTo>
                    <a:pt x="3127876" y="277668"/>
                    <a:pt x="3126814" y="286974"/>
                    <a:pt x="3113676" y="311866"/>
                  </a:cubicBezTo>
                  <a:cubicBezTo>
                    <a:pt x="3098044" y="341514"/>
                    <a:pt x="3062417" y="366014"/>
                    <a:pt x="3034709" y="366199"/>
                  </a:cubicBezTo>
                  <a:lnTo>
                    <a:pt x="3017923" y="366291"/>
                  </a:lnTo>
                  <a:lnTo>
                    <a:pt x="3017923" y="1812752"/>
                  </a:lnTo>
                  <a:lnTo>
                    <a:pt x="3037780" y="1820972"/>
                  </a:lnTo>
                  <a:cubicBezTo>
                    <a:pt x="3048679" y="1825498"/>
                    <a:pt x="3069159" y="1840738"/>
                    <a:pt x="3083290" y="1854846"/>
                  </a:cubicBezTo>
                  <a:cubicBezTo>
                    <a:pt x="3155769" y="1927329"/>
                    <a:pt x="3134018" y="2054006"/>
                    <a:pt x="3040828" y="2102035"/>
                  </a:cubicBezTo>
                  <a:lnTo>
                    <a:pt x="3017923" y="2113834"/>
                  </a:lnTo>
                  <a:lnTo>
                    <a:pt x="3017923" y="2761188"/>
                  </a:lnTo>
                  <a:lnTo>
                    <a:pt x="3034709" y="2761280"/>
                  </a:lnTo>
                  <a:cubicBezTo>
                    <a:pt x="3062417" y="2761442"/>
                    <a:pt x="3098044" y="2785964"/>
                    <a:pt x="3113676" y="2815613"/>
                  </a:cubicBezTo>
                  <a:cubicBezTo>
                    <a:pt x="3126860" y="2840598"/>
                    <a:pt x="3127876" y="2849603"/>
                    <a:pt x="3127738" y="2940858"/>
                  </a:cubicBezTo>
                  <a:cubicBezTo>
                    <a:pt x="3127576" y="3067627"/>
                    <a:pt x="3117370" y="3094020"/>
                    <a:pt x="3059115" y="3118358"/>
                  </a:cubicBezTo>
                  <a:cubicBezTo>
                    <a:pt x="3039096" y="3126717"/>
                    <a:pt x="2875482" y="3127733"/>
                    <a:pt x="1562609" y="3127617"/>
                  </a:cubicBezTo>
                  <a:cubicBezTo>
                    <a:pt x="145338" y="3127479"/>
                    <a:pt x="87637" y="3127063"/>
                    <a:pt x="64132" y="3116257"/>
                  </a:cubicBezTo>
                  <a:close/>
                  <a:moveTo>
                    <a:pt x="3034871" y="2948386"/>
                  </a:moveTo>
                  <a:cubicBezTo>
                    <a:pt x="3036025" y="2891143"/>
                    <a:pt x="3034294" y="2860941"/>
                    <a:pt x="3029537" y="2855214"/>
                  </a:cubicBezTo>
                  <a:cubicBezTo>
                    <a:pt x="3023649" y="2848102"/>
                    <a:pt x="2944636" y="2846740"/>
                    <a:pt x="2544122" y="2846740"/>
                  </a:cubicBezTo>
                  <a:lnTo>
                    <a:pt x="2065749" y="2846740"/>
                  </a:lnTo>
                  <a:lnTo>
                    <a:pt x="2053095" y="2830645"/>
                  </a:lnTo>
                  <a:cubicBezTo>
                    <a:pt x="2037117" y="2810325"/>
                    <a:pt x="2037117" y="2797602"/>
                    <a:pt x="2053095" y="2777305"/>
                  </a:cubicBezTo>
                  <a:lnTo>
                    <a:pt x="2065749" y="2761211"/>
                  </a:lnTo>
                  <a:lnTo>
                    <a:pt x="2205603" y="2761211"/>
                  </a:lnTo>
                  <a:cubicBezTo>
                    <a:pt x="2335552" y="2761211"/>
                    <a:pt x="2345896" y="2760403"/>
                    <a:pt x="2351530" y="2749873"/>
                  </a:cubicBezTo>
                  <a:cubicBezTo>
                    <a:pt x="2354855" y="2743639"/>
                    <a:pt x="2384064" y="2675590"/>
                    <a:pt x="2416412" y="2598651"/>
                  </a:cubicBezTo>
                  <a:cubicBezTo>
                    <a:pt x="2448784" y="2521735"/>
                    <a:pt x="2510942" y="2384552"/>
                    <a:pt x="2554581" y="2293828"/>
                  </a:cubicBezTo>
                  <a:cubicBezTo>
                    <a:pt x="2598221" y="2203104"/>
                    <a:pt x="2635095" y="2126142"/>
                    <a:pt x="2636550" y="2122770"/>
                  </a:cubicBezTo>
                  <a:cubicBezTo>
                    <a:pt x="2638005" y="2119422"/>
                    <a:pt x="2627129" y="2111710"/>
                    <a:pt x="2612375" y="2105660"/>
                  </a:cubicBezTo>
                  <a:cubicBezTo>
                    <a:pt x="2553473" y="2081484"/>
                    <a:pt x="2519993" y="2029968"/>
                    <a:pt x="2519993" y="1963466"/>
                  </a:cubicBezTo>
                  <a:lnTo>
                    <a:pt x="2519993" y="1920240"/>
                  </a:lnTo>
                  <a:lnTo>
                    <a:pt x="2474183" y="1889044"/>
                  </a:lnTo>
                  <a:cubicBezTo>
                    <a:pt x="2293205" y="1765808"/>
                    <a:pt x="2105232" y="1524900"/>
                    <a:pt x="1991284" y="1270162"/>
                  </a:cubicBezTo>
                  <a:cubicBezTo>
                    <a:pt x="1938778" y="1152791"/>
                    <a:pt x="1863275" y="906595"/>
                    <a:pt x="1863275" y="852793"/>
                  </a:cubicBezTo>
                  <a:cubicBezTo>
                    <a:pt x="1863275" y="839701"/>
                    <a:pt x="1856163" y="840232"/>
                    <a:pt x="1830787" y="855195"/>
                  </a:cubicBezTo>
                  <a:cubicBezTo>
                    <a:pt x="1770638" y="890709"/>
                    <a:pt x="1645021" y="922274"/>
                    <a:pt x="1563928" y="922274"/>
                  </a:cubicBezTo>
                  <a:cubicBezTo>
                    <a:pt x="1482144" y="922274"/>
                    <a:pt x="1365374" y="893272"/>
                    <a:pt x="1303198" y="857527"/>
                  </a:cubicBezTo>
                  <a:cubicBezTo>
                    <a:pt x="1289160" y="849445"/>
                    <a:pt x="1275038" y="842841"/>
                    <a:pt x="1271819" y="842841"/>
                  </a:cubicBezTo>
                  <a:cubicBezTo>
                    <a:pt x="1268599" y="842841"/>
                    <a:pt x="1264110" y="855195"/>
                    <a:pt x="1261845" y="870296"/>
                  </a:cubicBezTo>
                  <a:cubicBezTo>
                    <a:pt x="1255675" y="911444"/>
                    <a:pt x="1218191" y="1055670"/>
                    <a:pt x="1203370" y="1095294"/>
                  </a:cubicBezTo>
                  <a:cubicBezTo>
                    <a:pt x="1185367" y="1143416"/>
                    <a:pt x="1160137" y="1154869"/>
                    <a:pt x="1127945" y="1129538"/>
                  </a:cubicBezTo>
                  <a:cubicBezTo>
                    <a:pt x="1106984" y="1113051"/>
                    <a:pt x="1107462" y="1101736"/>
                    <a:pt x="1132799" y="1014545"/>
                  </a:cubicBezTo>
                  <a:cubicBezTo>
                    <a:pt x="1164291" y="906180"/>
                    <a:pt x="1188158" y="783567"/>
                    <a:pt x="1179738" y="773407"/>
                  </a:cubicBezTo>
                  <a:cubicBezTo>
                    <a:pt x="1174102" y="766618"/>
                    <a:pt x="1163591" y="768904"/>
                    <a:pt x="1120058" y="786384"/>
                  </a:cubicBezTo>
                  <a:cubicBezTo>
                    <a:pt x="1090997" y="798045"/>
                    <a:pt x="1043591" y="812384"/>
                    <a:pt x="1014708" y="818226"/>
                  </a:cubicBezTo>
                  <a:lnTo>
                    <a:pt x="962195" y="828848"/>
                  </a:lnTo>
                  <a:lnTo>
                    <a:pt x="942862" y="925045"/>
                  </a:lnTo>
                  <a:cubicBezTo>
                    <a:pt x="882933" y="1223218"/>
                    <a:pt x="764374" y="1473408"/>
                    <a:pt x="572942" y="1705656"/>
                  </a:cubicBezTo>
                  <a:cubicBezTo>
                    <a:pt x="547257" y="1736829"/>
                    <a:pt x="516467" y="1771742"/>
                    <a:pt x="504520" y="1783265"/>
                  </a:cubicBezTo>
                  <a:lnTo>
                    <a:pt x="482797" y="1804231"/>
                  </a:lnTo>
                  <a:lnTo>
                    <a:pt x="520877" y="1822981"/>
                  </a:lnTo>
                  <a:cubicBezTo>
                    <a:pt x="565327" y="1844871"/>
                    <a:pt x="560487" y="1846372"/>
                    <a:pt x="638376" y="1786336"/>
                  </a:cubicBezTo>
                  <a:cubicBezTo>
                    <a:pt x="769768" y="1685013"/>
                    <a:pt x="922772" y="1494559"/>
                    <a:pt x="1006149" y="1328559"/>
                  </a:cubicBezTo>
                  <a:cubicBezTo>
                    <a:pt x="1040871" y="1259401"/>
                    <a:pt x="1047300" y="1252174"/>
                    <a:pt x="1074125" y="1252174"/>
                  </a:cubicBezTo>
                  <a:cubicBezTo>
                    <a:pt x="1127479" y="1252174"/>
                    <a:pt x="1131344" y="1290320"/>
                    <a:pt x="1086458" y="1373817"/>
                  </a:cubicBezTo>
                  <a:cubicBezTo>
                    <a:pt x="969831" y="1590779"/>
                    <a:pt x="808665" y="1782503"/>
                    <a:pt x="653271" y="1889090"/>
                  </a:cubicBezTo>
                  <a:lnTo>
                    <a:pt x="607061" y="1920794"/>
                  </a:lnTo>
                  <a:lnTo>
                    <a:pt x="609749" y="1953214"/>
                  </a:lnTo>
                  <a:cubicBezTo>
                    <a:pt x="614753" y="2013527"/>
                    <a:pt x="574376" y="2080075"/>
                    <a:pt x="517866" y="2104667"/>
                  </a:cubicBezTo>
                  <a:cubicBezTo>
                    <a:pt x="503513" y="2110902"/>
                    <a:pt x="490911" y="2116559"/>
                    <a:pt x="489860" y="2117229"/>
                  </a:cubicBezTo>
                  <a:cubicBezTo>
                    <a:pt x="488812" y="2117898"/>
                    <a:pt x="500569" y="2143575"/>
                    <a:pt x="515989" y="2174286"/>
                  </a:cubicBezTo>
                  <a:cubicBezTo>
                    <a:pt x="575313" y="2292419"/>
                    <a:pt x="657187" y="2470473"/>
                    <a:pt x="712554" y="2601745"/>
                  </a:cubicBezTo>
                  <a:cubicBezTo>
                    <a:pt x="744291" y="2676998"/>
                    <a:pt x="772984" y="2743662"/>
                    <a:pt x="776321" y="2749897"/>
                  </a:cubicBezTo>
                  <a:cubicBezTo>
                    <a:pt x="782160" y="2760795"/>
                    <a:pt x="803123" y="2761234"/>
                    <a:pt x="1338094" y="2761234"/>
                  </a:cubicBezTo>
                  <a:cubicBezTo>
                    <a:pt x="1885672" y="2761234"/>
                    <a:pt x="1894007" y="2761419"/>
                    <a:pt x="1906037" y="2773449"/>
                  </a:cubicBezTo>
                  <a:cubicBezTo>
                    <a:pt x="1912825" y="2780238"/>
                    <a:pt x="1918251" y="2793815"/>
                    <a:pt x="1918251" y="2803998"/>
                  </a:cubicBezTo>
                  <a:cubicBezTo>
                    <a:pt x="1918251" y="2814182"/>
                    <a:pt x="1912825" y="2827759"/>
                    <a:pt x="1906037" y="2834548"/>
                  </a:cubicBezTo>
                  <a:cubicBezTo>
                    <a:pt x="1893915" y="2846647"/>
                    <a:pt x="1885672" y="2846763"/>
                    <a:pt x="1000037" y="2846763"/>
                  </a:cubicBezTo>
                  <a:cubicBezTo>
                    <a:pt x="313025" y="2846763"/>
                    <a:pt x="104571" y="2848448"/>
                    <a:pt x="98937" y="2854083"/>
                  </a:cubicBezTo>
                  <a:cubicBezTo>
                    <a:pt x="91050" y="2861980"/>
                    <a:pt x="88087" y="3024494"/>
                    <a:pt x="95693" y="3032090"/>
                  </a:cubicBezTo>
                  <a:cubicBezTo>
                    <a:pt x="97940" y="3034330"/>
                    <a:pt x="759800" y="3035485"/>
                    <a:pt x="1566463" y="3034630"/>
                  </a:cubicBezTo>
                  <a:lnTo>
                    <a:pt x="3033162" y="3033107"/>
                  </a:lnTo>
                  <a:close/>
                  <a:moveTo>
                    <a:pt x="387171" y="2756454"/>
                  </a:moveTo>
                  <a:cubicBezTo>
                    <a:pt x="395712" y="2742646"/>
                    <a:pt x="321774" y="2426324"/>
                    <a:pt x="269737" y="2254042"/>
                  </a:cubicBezTo>
                  <a:cubicBezTo>
                    <a:pt x="229907" y="2122193"/>
                    <a:pt x="228877" y="2119699"/>
                    <a:pt x="214056" y="2119699"/>
                  </a:cubicBezTo>
                  <a:cubicBezTo>
                    <a:pt x="201795" y="2119699"/>
                    <a:pt x="201687" y="2122493"/>
                    <a:pt x="201687" y="2436368"/>
                  </a:cubicBezTo>
                  <a:cubicBezTo>
                    <a:pt x="201687" y="2610543"/>
                    <a:pt x="203520" y="2754884"/>
                    <a:pt x="205760" y="2757124"/>
                  </a:cubicBezTo>
                  <a:cubicBezTo>
                    <a:pt x="211497" y="2762874"/>
                    <a:pt x="383604" y="2762227"/>
                    <a:pt x="387173" y="2756454"/>
                  </a:cubicBezTo>
                  <a:close/>
                  <a:moveTo>
                    <a:pt x="678194" y="2758232"/>
                  </a:moveTo>
                  <a:cubicBezTo>
                    <a:pt x="678194" y="2751790"/>
                    <a:pt x="601451" y="2569787"/>
                    <a:pt x="561711" y="2481950"/>
                  </a:cubicBezTo>
                  <a:cubicBezTo>
                    <a:pt x="538589" y="2430849"/>
                    <a:pt x="489348" y="2328441"/>
                    <a:pt x="452286" y="2254366"/>
                  </a:cubicBezTo>
                  <a:lnTo>
                    <a:pt x="384901" y="2119699"/>
                  </a:lnTo>
                  <a:lnTo>
                    <a:pt x="353728" y="2119699"/>
                  </a:lnTo>
                  <a:cubicBezTo>
                    <a:pt x="326750" y="2119699"/>
                    <a:pt x="323097" y="2121108"/>
                    <a:pt x="326590" y="2130206"/>
                  </a:cubicBezTo>
                  <a:cubicBezTo>
                    <a:pt x="366644" y="2234600"/>
                    <a:pt x="447232" y="2555610"/>
                    <a:pt x="479241" y="2738282"/>
                  </a:cubicBezTo>
                  <a:lnTo>
                    <a:pt x="483257" y="2761211"/>
                  </a:lnTo>
                  <a:lnTo>
                    <a:pt x="580725" y="2761211"/>
                  </a:lnTo>
                  <a:cubicBezTo>
                    <a:pt x="634333" y="2761211"/>
                    <a:pt x="678194" y="2759872"/>
                    <a:pt x="678194" y="2758232"/>
                  </a:cubicBezTo>
                  <a:close/>
                  <a:moveTo>
                    <a:pt x="2645347" y="2759317"/>
                  </a:moveTo>
                  <a:cubicBezTo>
                    <a:pt x="2645347" y="2751143"/>
                    <a:pt x="2672547" y="2612967"/>
                    <a:pt x="2688294" y="2541270"/>
                  </a:cubicBezTo>
                  <a:cubicBezTo>
                    <a:pt x="2710114" y="2441771"/>
                    <a:pt x="2765090" y="2237925"/>
                    <a:pt x="2788665" y="2169044"/>
                  </a:cubicBezTo>
                  <a:cubicBezTo>
                    <a:pt x="2797208" y="2144083"/>
                    <a:pt x="2804181" y="2122794"/>
                    <a:pt x="2804181" y="2121685"/>
                  </a:cubicBezTo>
                  <a:cubicBezTo>
                    <a:pt x="2804181" y="2120600"/>
                    <a:pt x="2790281" y="2119723"/>
                    <a:pt x="2773264" y="2119723"/>
                  </a:cubicBezTo>
                  <a:lnTo>
                    <a:pt x="2742347" y="2119723"/>
                  </a:lnTo>
                  <a:lnTo>
                    <a:pt x="2654490" y="2298423"/>
                  </a:lnTo>
                  <a:cubicBezTo>
                    <a:pt x="2580396" y="2449091"/>
                    <a:pt x="2468665" y="2698519"/>
                    <a:pt x="2453333" y="2747472"/>
                  </a:cubicBezTo>
                  <a:lnTo>
                    <a:pt x="2449038" y="2761211"/>
                  </a:lnTo>
                  <a:lnTo>
                    <a:pt x="2547192" y="2761211"/>
                  </a:lnTo>
                  <a:cubicBezTo>
                    <a:pt x="2601176" y="2761211"/>
                    <a:pt x="2645347" y="2760356"/>
                    <a:pt x="2645347" y="2759341"/>
                  </a:cubicBezTo>
                  <a:close/>
                  <a:moveTo>
                    <a:pt x="2924894" y="2438908"/>
                  </a:moveTo>
                  <a:cubicBezTo>
                    <a:pt x="2926465" y="2121477"/>
                    <a:pt x="2926418" y="2119699"/>
                    <a:pt x="2914042" y="2119699"/>
                  </a:cubicBezTo>
                  <a:cubicBezTo>
                    <a:pt x="2899334" y="2119699"/>
                    <a:pt x="2898895" y="2120762"/>
                    <a:pt x="2859158" y="2250579"/>
                  </a:cubicBezTo>
                  <a:cubicBezTo>
                    <a:pt x="2808430" y="2416302"/>
                    <a:pt x="2732257" y="2742484"/>
                    <a:pt x="2740985" y="2756616"/>
                  </a:cubicBezTo>
                  <a:cubicBezTo>
                    <a:pt x="2742647" y="2759317"/>
                    <a:pt x="2784347" y="2760772"/>
                    <a:pt x="2833667" y="2759849"/>
                  </a:cubicBezTo>
                  <a:lnTo>
                    <a:pt x="2923324" y="2758163"/>
                  </a:lnTo>
                  <a:close/>
                  <a:moveTo>
                    <a:pt x="498625" y="2007270"/>
                  </a:moveTo>
                  <a:cubicBezTo>
                    <a:pt x="532230" y="1973672"/>
                    <a:pt x="524749" y="1925458"/>
                    <a:pt x="482656" y="1904353"/>
                  </a:cubicBezTo>
                  <a:cubicBezTo>
                    <a:pt x="464064" y="1895025"/>
                    <a:pt x="441746" y="1893662"/>
                    <a:pt x="306906" y="1893639"/>
                  </a:cubicBezTo>
                  <a:cubicBezTo>
                    <a:pt x="132341" y="1893639"/>
                    <a:pt x="117282" y="1896456"/>
                    <a:pt x="100173" y="1932340"/>
                  </a:cubicBezTo>
                  <a:cubicBezTo>
                    <a:pt x="86425" y="1961157"/>
                    <a:pt x="92906" y="1992237"/>
                    <a:pt x="116866" y="2012396"/>
                  </a:cubicBezTo>
                  <a:lnTo>
                    <a:pt x="135456" y="2028052"/>
                  </a:lnTo>
                  <a:lnTo>
                    <a:pt x="477854" y="2028052"/>
                  </a:lnTo>
                  <a:close/>
                  <a:moveTo>
                    <a:pt x="3011250" y="2012396"/>
                  </a:moveTo>
                  <a:cubicBezTo>
                    <a:pt x="3035217" y="1992237"/>
                    <a:pt x="3041682" y="1961157"/>
                    <a:pt x="3027944" y="1932340"/>
                  </a:cubicBezTo>
                  <a:cubicBezTo>
                    <a:pt x="3010834" y="1896456"/>
                    <a:pt x="2995780" y="1893639"/>
                    <a:pt x="2821222" y="1893639"/>
                  </a:cubicBezTo>
                  <a:cubicBezTo>
                    <a:pt x="2686377" y="1893662"/>
                    <a:pt x="2664050" y="1895025"/>
                    <a:pt x="2645463" y="1904353"/>
                  </a:cubicBezTo>
                  <a:cubicBezTo>
                    <a:pt x="2603370" y="1925458"/>
                    <a:pt x="2595889" y="1973672"/>
                    <a:pt x="2629484" y="2007270"/>
                  </a:cubicBezTo>
                  <a:lnTo>
                    <a:pt x="2650265" y="2028052"/>
                  </a:lnTo>
                  <a:lnTo>
                    <a:pt x="2992663" y="2028052"/>
                  </a:lnTo>
                  <a:close/>
                  <a:moveTo>
                    <a:pt x="2601153" y="1759250"/>
                  </a:moveTo>
                  <a:cubicBezTo>
                    <a:pt x="2577787" y="1734035"/>
                    <a:pt x="2534770" y="1681803"/>
                    <a:pt x="2505585" y="1643149"/>
                  </a:cubicBezTo>
                  <a:cubicBezTo>
                    <a:pt x="2333959" y="1415981"/>
                    <a:pt x="2228647" y="1171079"/>
                    <a:pt x="2173555" y="870897"/>
                  </a:cubicBezTo>
                  <a:lnTo>
                    <a:pt x="2165819" y="828733"/>
                  </a:lnTo>
                  <a:lnTo>
                    <a:pt x="2113290" y="818157"/>
                  </a:lnTo>
                  <a:cubicBezTo>
                    <a:pt x="2084405" y="812338"/>
                    <a:pt x="2036979" y="798022"/>
                    <a:pt x="2007932" y="786338"/>
                  </a:cubicBezTo>
                  <a:cubicBezTo>
                    <a:pt x="1937393" y="758028"/>
                    <a:pt x="1936862" y="758767"/>
                    <a:pt x="1957111" y="859536"/>
                  </a:cubicBezTo>
                  <a:cubicBezTo>
                    <a:pt x="2009017" y="1118085"/>
                    <a:pt x="2111051" y="1349410"/>
                    <a:pt x="2261688" y="1550093"/>
                  </a:cubicBezTo>
                  <a:cubicBezTo>
                    <a:pt x="2318373" y="1625646"/>
                    <a:pt x="2426433" y="1737591"/>
                    <a:pt x="2489584" y="1786266"/>
                  </a:cubicBezTo>
                  <a:cubicBezTo>
                    <a:pt x="2568597" y="1847134"/>
                    <a:pt x="2560931" y="1844686"/>
                    <a:pt x="2605286" y="1823466"/>
                  </a:cubicBezTo>
                  <a:lnTo>
                    <a:pt x="2643638" y="1805109"/>
                  </a:lnTo>
                  <a:close/>
                  <a:moveTo>
                    <a:pt x="426724" y="1731726"/>
                  </a:moveTo>
                  <a:cubicBezTo>
                    <a:pt x="604438" y="1546860"/>
                    <a:pt x="740467" y="1314057"/>
                    <a:pt x="815139" y="1067031"/>
                  </a:cubicBezTo>
                  <a:cubicBezTo>
                    <a:pt x="838621" y="989353"/>
                    <a:pt x="872536" y="830580"/>
                    <a:pt x="865650" y="830580"/>
                  </a:cubicBezTo>
                  <a:cubicBezTo>
                    <a:pt x="844163" y="830580"/>
                    <a:pt x="746560" y="808089"/>
                    <a:pt x="709681" y="794628"/>
                  </a:cubicBezTo>
                  <a:cubicBezTo>
                    <a:pt x="667243" y="779133"/>
                    <a:pt x="602189" y="744520"/>
                    <a:pt x="565225" y="717781"/>
                  </a:cubicBezTo>
                  <a:cubicBezTo>
                    <a:pt x="553091" y="709006"/>
                    <a:pt x="553006" y="710069"/>
                    <a:pt x="553006" y="872097"/>
                  </a:cubicBezTo>
                  <a:cubicBezTo>
                    <a:pt x="553006" y="1044032"/>
                    <a:pt x="548460" y="1094786"/>
                    <a:pt x="521466" y="1224234"/>
                  </a:cubicBezTo>
                  <a:cubicBezTo>
                    <a:pt x="482158" y="1412748"/>
                    <a:pt x="412627" y="1595166"/>
                    <a:pt x="321037" y="1750083"/>
                  </a:cubicBezTo>
                  <a:cubicBezTo>
                    <a:pt x="305819" y="1775829"/>
                    <a:pt x="293367" y="1798043"/>
                    <a:pt x="293367" y="1799428"/>
                  </a:cubicBezTo>
                  <a:cubicBezTo>
                    <a:pt x="293367" y="1800837"/>
                    <a:pt x="308176" y="1801991"/>
                    <a:pt x="326276" y="1801991"/>
                  </a:cubicBezTo>
                  <a:lnTo>
                    <a:pt x="359186" y="1801991"/>
                  </a:lnTo>
                  <a:close/>
                  <a:moveTo>
                    <a:pt x="2834752" y="1799451"/>
                  </a:moveTo>
                  <a:cubicBezTo>
                    <a:pt x="2834752" y="1798043"/>
                    <a:pt x="2822307" y="1775829"/>
                    <a:pt x="2807091" y="1750083"/>
                  </a:cubicBezTo>
                  <a:cubicBezTo>
                    <a:pt x="2715493" y="1595166"/>
                    <a:pt x="2645970" y="1412725"/>
                    <a:pt x="2606649" y="1224234"/>
                  </a:cubicBezTo>
                  <a:cubicBezTo>
                    <a:pt x="2579657" y="1094809"/>
                    <a:pt x="2575108" y="1044032"/>
                    <a:pt x="2575108" y="872097"/>
                  </a:cubicBezTo>
                  <a:cubicBezTo>
                    <a:pt x="2575108" y="710069"/>
                    <a:pt x="2575016" y="709006"/>
                    <a:pt x="2562894" y="717781"/>
                  </a:cubicBezTo>
                  <a:cubicBezTo>
                    <a:pt x="2484342" y="774631"/>
                    <a:pt x="2395170" y="809636"/>
                    <a:pt x="2283392" y="827486"/>
                  </a:cubicBezTo>
                  <a:cubicBezTo>
                    <a:pt x="2270785" y="829518"/>
                    <a:pt x="2260487" y="833605"/>
                    <a:pt x="2260487" y="836584"/>
                  </a:cubicBezTo>
                  <a:cubicBezTo>
                    <a:pt x="2260487" y="839562"/>
                    <a:pt x="2267622" y="877247"/>
                    <a:pt x="2276327" y="920311"/>
                  </a:cubicBezTo>
                  <a:cubicBezTo>
                    <a:pt x="2337723" y="1223541"/>
                    <a:pt x="2487228" y="1508968"/>
                    <a:pt x="2701386" y="1731749"/>
                  </a:cubicBezTo>
                  <a:lnTo>
                    <a:pt x="2768923" y="1802015"/>
                  </a:lnTo>
                  <a:lnTo>
                    <a:pt x="2801849" y="1802015"/>
                  </a:lnTo>
                  <a:cubicBezTo>
                    <a:pt x="2819951" y="1802015"/>
                    <a:pt x="2834752" y="1800860"/>
                    <a:pt x="2834752" y="1799451"/>
                  </a:cubicBezTo>
                  <a:close/>
                  <a:moveTo>
                    <a:pt x="247778" y="1695081"/>
                  </a:moveTo>
                  <a:cubicBezTo>
                    <a:pt x="357842" y="1503749"/>
                    <a:pt x="429252" y="1286371"/>
                    <a:pt x="455491" y="1062782"/>
                  </a:cubicBezTo>
                  <a:cubicBezTo>
                    <a:pt x="467170" y="963260"/>
                    <a:pt x="466900" y="787631"/>
                    <a:pt x="454909" y="684576"/>
                  </a:cubicBezTo>
                  <a:cubicBezTo>
                    <a:pt x="445586" y="604428"/>
                    <a:pt x="444766" y="601680"/>
                    <a:pt x="415664" y="553235"/>
                  </a:cubicBezTo>
                  <a:cubicBezTo>
                    <a:pt x="384719" y="501696"/>
                    <a:pt x="366120" y="459925"/>
                    <a:pt x="348734" y="402913"/>
                  </a:cubicBezTo>
                  <a:lnTo>
                    <a:pt x="338484" y="369316"/>
                  </a:lnTo>
                  <a:lnTo>
                    <a:pt x="204811" y="369316"/>
                  </a:lnTo>
                  <a:lnTo>
                    <a:pt x="203259" y="1068578"/>
                  </a:lnTo>
                  <a:cubicBezTo>
                    <a:pt x="202345" y="1480058"/>
                    <a:pt x="203954" y="1765439"/>
                    <a:pt x="207170" y="1761998"/>
                  </a:cubicBezTo>
                  <a:cubicBezTo>
                    <a:pt x="210177" y="1758788"/>
                    <a:pt x="228452" y="1728678"/>
                    <a:pt x="247781" y="1695081"/>
                  </a:cubicBezTo>
                  <a:close/>
                  <a:moveTo>
                    <a:pt x="2923647" y="373703"/>
                  </a:moveTo>
                  <a:cubicBezTo>
                    <a:pt x="2921408" y="367838"/>
                    <a:pt x="2904160" y="366291"/>
                    <a:pt x="2855233" y="367584"/>
                  </a:cubicBezTo>
                  <a:lnTo>
                    <a:pt x="2789796" y="369339"/>
                  </a:lnTo>
                  <a:lnTo>
                    <a:pt x="2779544" y="402936"/>
                  </a:lnTo>
                  <a:cubicBezTo>
                    <a:pt x="2762412" y="459186"/>
                    <a:pt x="2743640" y="501419"/>
                    <a:pt x="2712977" y="552612"/>
                  </a:cubicBezTo>
                  <a:cubicBezTo>
                    <a:pt x="2689079" y="592536"/>
                    <a:pt x="2682337" y="610431"/>
                    <a:pt x="2676172" y="650356"/>
                  </a:cubicBezTo>
                  <a:cubicBezTo>
                    <a:pt x="2664835" y="723854"/>
                    <a:pt x="2661002" y="950583"/>
                    <a:pt x="2669660" y="1035974"/>
                  </a:cubicBezTo>
                  <a:cubicBezTo>
                    <a:pt x="2694205" y="1277874"/>
                    <a:pt x="2772294" y="1514440"/>
                    <a:pt x="2896263" y="1722443"/>
                  </a:cubicBezTo>
                  <a:lnTo>
                    <a:pt x="2923486" y="1768140"/>
                  </a:lnTo>
                  <a:lnTo>
                    <a:pt x="2925056" y="1074836"/>
                  </a:lnTo>
                  <a:cubicBezTo>
                    <a:pt x="2925933" y="693512"/>
                    <a:pt x="2925287" y="377998"/>
                    <a:pt x="2923647" y="373703"/>
                  </a:cubicBezTo>
                  <a:close/>
                  <a:moveTo>
                    <a:pt x="1661955" y="814486"/>
                  </a:moveTo>
                  <a:cubicBezTo>
                    <a:pt x="1720580" y="802686"/>
                    <a:pt x="1818273" y="755396"/>
                    <a:pt x="1867985" y="714756"/>
                  </a:cubicBezTo>
                  <a:cubicBezTo>
                    <a:pt x="1933952" y="660793"/>
                    <a:pt x="1992531" y="579235"/>
                    <a:pt x="2020654" y="502158"/>
                  </a:cubicBezTo>
                  <a:cubicBezTo>
                    <a:pt x="2038756" y="452489"/>
                    <a:pt x="2054019" y="377305"/>
                    <a:pt x="2047369" y="370540"/>
                  </a:cubicBezTo>
                  <a:cubicBezTo>
                    <a:pt x="2044737" y="367861"/>
                    <a:pt x="2023748" y="366499"/>
                    <a:pt x="2000751" y="367492"/>
                  </a:cubicBezTo>
                  <a:lnTo>
                    <a:pt x="1958935" y="369316"/>
                  </a:lnTo>
                  <a:lnTo>
                    <a:pt x="1951500" y="409679"/>
                  </a:lnTo>
                  <a:cubicBezTo>
                    <a:pt x="1936654" y="490312"/>
                    <a:pt x="1892321" y="569445"/>
                    <a:pt x="1828016" y="630128"/>
                  </a:cubicBezTo>
                  <a:cubicBezTo>
                    <a:pt x="1778350" y="676979"/>
                    <a:pt x="1746417" y="696399"/>
                    <a:pt x="1682667" y="718520"/>
                  </a:cubicBezTo>
                  <a:cubicBezTo>
                    <a:pt x="1640983" y="732975"/>
                    <a:pt x="1624965" y="735238"/>
                    <a:pt x="1564209" y="735238"/>
                  </a:cubicBezTo>
                  <a:cubicBezTo>
                    <a:pt x="1503453" y="735238"/>
                    <a:pt x="1487436" y="732998"/>
                    <a:pt x="1445752" y="718520"/>
                  </a:cubicBezTo>
                  <a:cubicBezTo>
                    <a:pt x="1382004" y="696399"/>
                    <a:pt x="1350061" y="676979"/>
                    <a:pt x="1300393" y="630128"/>
                  </a:cubicBezTo>
                  <a:cubicBezTo>
                    <a:pt x="1234666" y="568106"/>
                    <a:pt x="1192370" y="492414"/>
                    <a:pt x="1176872" y="409032"/>
                  </a:cubicBezTo>
                  <a:lnTo>
                    <a:pt x="1169491" y="369316"/>
                  </a:lnTo>
                  <a:lnTo>
                    <a:pt x="1127670" y="367492"/>
                  </a:lnTo>
                  <a:cubicBezTo>
                    <a:pt x="1104671" y="366499"/>
                    <a:pt x="1083691" y="367861"/>
                    <a:pt x="1081054" y="370540"/>
                  </a:cubicBezTo>
                  <a:cubicBezTo>
                    <a:pt x="1073232" y="378506"/>
                    <a:pt x="1092553" y="473387"/>
                    <a:pt x="1112572" y="525295"/>
                  </a:cubicBezTo>
                  <a:cubicBezTo>
                    <a:pt x="1165099" y="661508"/>
                    <a:pt x="1275581" y="763732"/>
                    <a:pt x="1416202" y="806219"/>
                  </a:cubicBezTo>
                  <a:cubicBezTo>
                    <a:pt x="1496591" y="830511"/>
                    <a:pt x="1570060" y="832981"/>
                    <a:pt x="1661946" y="814486"/>
                  </a:cubicBezTo>
                  <a:close/>
                  <a:moveTo>
                    <a:pt x="1041880" y="718104"/>
                  </a:moveTo>
                  <a:cubicBezTo>
                    <a:pt x="1068761" y="709422"/>
                    <a:pt x="1094289" y="700024"/>
                    <a:pt x="1098612" y="697230"/>
                  </a:cubicBezTo>
                  <a:cubicBezTo>
                    <a:pt x="1110598" y="689448"/>
                    <a:pt x="1059288" y="614565"/>
                    <a:pt x="1045711" y="620014"/>
                  </a:cubicBezTo>
                  <a:cubicBezTo>
                    <a:pt x="979947" y="646476"/>
                    <a:pt x="903333" y="653080"/>
                    <a:pt x="830882" y="638579"/>
                  </a:cubicBezTo>
                  <a:cubicBezTo>
                    <a:pt x="707878" y="613941"/>
                    <a:pt x="610347" y="536771"/>
                    <a:pt x="550457" y="416675"/>
                  </a:cubicBezTo>
                  <a:lnTo>
                    <a:pt x="525326" y="366268"/>
                  </a:lnTo>
                  <a:lnTo>
                    <a:pt x="483739" y="366268"/>
                  </a:lnTo>
                  <a:cubicBezTo>
                    <a:pt x="460866" y="366268"/>
                    <a:pt x="440548" y="367861"/>
                    <a:pt x="438585" y="369824"/>
                  </a:cubicBezTo>
                  <a:cubicBezTo>
                    <a:pt x="433189" y="375227"/>
                    <a:pt x="455039" y="434363"/>
                    <a:pt x="479932" y="481746"/>
                  </a:cubicBezTo>
                  <a:cubicBezTo>
                    <a:pt x="533918" y="584477"/>
                    <a:pt x="635494" y="671876"/>
                    <a:pt x="748304" y="712631"/>
                  </a:cubicBezTo>
                  <a:cubicBezTo>
                    <a:pt x="833454" y="743389"/>
                    <a:pt x="956421" y="745675"/>
                    <a:pt x="1041866" y="718104"/>
                  </a:cubicBezTo>
                  <a:close/>
                  <a:moveTo>
                    <a:pt x="2343126" y="724108"/>
                  </a:moveTo>
                  <a:cubicBezTo>
                    <a:pt x="2397709" y="709699"/>
                    <a:pt x="2484504" y="664649"/>
                    <a:pt x="2529506" y="627403"/>
                  </a:cubicBezTo>
                  <a:cubicBezTo>
                    <a:pt x="2573977" y="590573"/>
                    <a:pt x="2629600" y="520862"/>
                    <a:pt x="2654860" y="470269"/>
                  </a:cubicBezTo>
                  <a:cubicBezTo>
                    <a:pt x="2675802" y="428313"/>
                    <a:pt x="2694528" y="374534"/>
                    <a:pt x="2689818" y="369824"/>
                  </a:cubicBezTo>
                  <a:cubicBezTo>
                    <a:pt x="2687855" y="367861"/>
                    <a:pt x="2667513" y="366268"/>
                    <a:pt x="2644585" y="366268"/>
                  </a:cubicBezTo>
                  <a:lnTo>
                    <a:pt x="2602931" y="366268"/>
                  </a:lnTo>
                  <a:lnTo>
                    <a:pt x="2581896" y="408848"/>
                  </a:lnTo>
                  <a:cubicBezTo>
                    <a:pt x="2542690" y="488165"/>
                    <a:pt x="2495310" y="544022"/>
                    <a:pt x="2433083" y="584246"/>
                  </a:cubicBezTo>
                  <a:cubicBezTo>
                    <a:pt x="2329225" y="651441"/>
                    <a:pt x="2194889" y="665134"/>
                    <a:pt x="2082696" y="620014"/>
                  </a:cubicBezTo>
                  <a:cubicBezTo>
                    <a:pt x="2069189" y="614587"/>
                    <a:pt x="2017791" y="689494"/>
                    <a:pt x="2029798" y="697114"/>
                  </a:cubicBezTo>
                  <a:cubicBezTo>
                    <a:pt x="2042913" y="705427"/>
                    <a:pt x="2112274" y="727410"/>
                    <a:pt x="2143099" y="733021"/>
                  </a:cubicBezTo>
                  <a:cubicBezTo>
                    <a:pt x="2184707" y="740595"/>
                    <a:pt x="2300202" y="735445"/>
                    <a:pt x="2343126" y="724108"/>
                  </a:cubicBezTo>
                  <a:close/>
                  <a:moveTo>
                    <a:pt x="1634201" y="637956"/>
                  </a:moveTo>
                  <a:cubicBezTo>
                    <a:pt x="1688668" y="623755"/>
                    <a:pt x="1736766" y="595099"/>
                    <a:pt x="1777820" y="552335"/>
                  </a:cubicBezTo>
                  <a:cubicBezTo>
                    <a:pt x="1819358" y="509085"/>
                    <a:pt x="1854847" y="442260"/>
                    <a:pt x="1861243" y="395293"/>
                  </a:cubicBezTo>
                  <a:lnTo>
                    <a:pt x="1865214" y="366268"/>
                  </a:lnTo>
                  <a:lnTo>
                    <a:pt x="1263191" y="366268"/>
                  </a:lnTo>
                  <a:lnTo>
                    <a:pt x="1267146" y="395293"/>
                  </a:lnTo>
                  <a:cubicBezTo>
                    <a:pt x="1273554" y="442260"/>
                    <a:pt x="1309049" y="509085"/>
                    <a:pt x="1350588" y="552335"/>
                  </a:cubicBezTo>
                  <a:cubicBezTo>
                    <a:pt x="1427273" y="632206"/>
                    <a:pt x="1533334" y="664210"/>
                    <a:pt x="1634199" y="637956"/>
                  </a:cubicBezTo>
                  <a:close/>
                  <a:moveTo>
                    <a:pt x="974181" y="546377"/>
                  </a:moveTo>
                  <a:cubicBezTo>
                    <a:pt x="993803" y="541251"/>
                    <a:pt x="1011707" y="535940"/>
                    <a:pt x="1013965" y="534531"/>
                  </a:cubicBezTo>
                  <a:cubicBezTo>
                    <a:pt x="1016223" y="533146"/>
                    <a:pt x="1011818" y="505021"/>
                    <a:pt x="1004172" y="472047"/>
                  </a:cubicBezTo>
                  <a:cubicBezTo>
                    <a:pt x="996525" y="439074"/>
                    <a:pt x="988696" y="401782"/>
                    <a:pt x="986775" y="389174"/>
                  </a:cubicBezTo>
                  <a:lnTo>
                    <a:pt x="983283" y="366268"/>
                  </a:lnTo>
                  <a:lnTo>
                    <a:pt x="806395" y="366268"/>
                  </a:lnTo>
                  <a:cubicBezTo>
                    <a:pt x="709107" y="366268"/>
                    <a:pt x="629532" y="368323"/>
                    <a:pt x="629565" y="370840"/>
                  </a:cubicBezTo>
                  <a:cubicBezTo>
                    <a:pt x="629745" y="385156"/>
                    <a:pt x="669736" y="441267"/>
                    <a:pt x="700919" y="470939"/>
                  </a:cubicBezTo>
                  <a:cubicBezTo>
                    <a:pt x="777270" y="543629"/>
                    <a:pt x="877989" y="571431"/>
                    <a:pt x="974186" y="546377"/>
                  </a:cubicBezTo>
                  <a:close/>
                  <a:moveTo>
                    <a:pt x="2293067" y="546562"/>
                  </a:moveTo>
                  <a:cubicBezTo>
                    <a:pt x="2345180" y="532984"/>
                    <a:pt x="2387088" y="509408"/>
                    <a:pt x="2427495" y="470939"/>
                  </a:cubicBezTo>
                  <a:cubicBezTo>
                    <a:pt x="2458666" y="441267"/>
                    <a:pt x="2498658" y="385156"/>
                    <a:pt x="2498843" y="370863"/>
                  </a:cubicBezTo>
                  <a:cubicBezTo>
                    <a:pt x="2498866" y="368323"/>
                    <a:pt x="2419299" y="366268"/>
                    <a:pt x="2322022" y="366268"/>
                  </a:cubicBezTo>
                  <a:lnTo>
                    <a:pt x="2145131" y="366268"/>
                  </a:lnTo>
                  <a:lnTo>
                    <a:pt x="2141644" y="389174"/>
                  </a:lnTo>
                  <a:cubicBezTo>
                    <a:pt x="2139705" y="401782"/>
                    <a:pt x="2131878" y="439074"/>
                    <a:pt x="2124235" y="472047"/>
                  </a:cubicBezTo>
                  <a:cubicBezTo>
                    <a:pt x="2116592" y="505021"/>
                    <a:pt x="2112251" y="533192"/>
                    <a:pt x="2114583" y="534624"/>
                  </a:cubicBezTo>
                  <a:cubicBezTo>
                    <a:pt x="2116915" y="536078"/>
                    <a:pt x="2133563" y="541205"/>
                    <a:pt x="2151550" y="546054"/>
                  </a:cubicBezTo>
                  <a:cubicBezTo>
                    <a:pt x="2194612" y="557645"/>
                    <a:pt x="2249751" y="557830"/>
                    <a:pt x="2293067" y="546562"/>
                  </a:cubicBezTo>
                  <a:close/>
                  <a:moveTo>
                    <a:pt x="3029837" y="272265"/>
                  </a:moveTo>
                  <a:cubicBezTo>
                    <a:pt x="3034594" y="266515"/>
                    <a:pt x="3036325" y="236335"/>
                    <a:pt x="3035171" y="179093"/>
                  </a:cubicBezTo>
                  <a:lnTo>
                    <a:pt x="3033462" y="94396"/>
                  </a:lnTo>
                  <a:lnTo>
                    <a:pt x="95063" y="94396"/>
                  </a:lnTo>
                  <a:lnTo>
                    <a:pt x="93359" y="179093"/>
                  </a:lnTo>
                  <a:cubicBezTo>
                    <a:pt x="92209" y="236335"/>
                    <a:pt x="93936" y="266515"/>
                    <a:pt x="98690" y="272265"/>
                  </a:cubicBezTo>
                  <a:cubicBezTo>
                    <a:pt x="109247" y="284965"/>
                    <a:pt x="3019308" y="284965"/>
                    <a:pt x="3029930" y="272265"/>
                  </a:cubicBezTo>
                  <a:close/>
                </a:path>
              </a:pathLst>
            </a:custGeom>
            <a:solidFill>
              <a:srgbClr val="03556D"/>
            </a:solidFill>
            <a:ln w="6108" cap="flat">
              <a:noFill/>
              <a:prstDash val="solid"/>
              <a:miter/>
            </a:ln>
          </p:spPr>
          <p:txBody>
            <a:bodyPr rtlCol="0" anchor="ctr"/>
            <a:lstStyle/>
            <a:p>
              <a:endParaRPr lang="en-US" dirty="0"/>
            </a:p>
          </p:txBody>
        </p:sp>
      </p:grpSp>
      <p:grpSp>
        <p:nvGrpSpPr>
          <p:cNvPr id="56" name="Group 55">
            <a:extLst>
              <a:ext uri="{FF2B5EF4-FFF2-40B4-BE49-F238E27FC236}">
                <a16:creationId xmlns:a16="http://schemas.microsoft.com/office/drawing/2014/main" id="{462C740F-3F02-4763-8EB5-A27A308600C9}"/>
              </a:ext>
            </a:extLst>
          </p:cNvPr>
          <p:cNvGrpSpPr/>
          <p:nvPr/>
        </p:nvGrpSpPr>
        <p:grpSpPr>
          <a:xfrm>
            <a:off x="2552591" y="2637661"/>
            <a:ext cx="1005840" cy="1005840"/>
            <a:chOff x="2433990" y="3233934"/>
            <a:chExt cx="1005840" cy="1005840"/>
          </a:xfrm>
        </p:grpSpPr>
        <p:sp>
          <p:nvSpPr>
            <p:cNvPr id="57" name="Oval 56">
              <a:extLst>
                <a:ext uri="{FF2B5EF4-FFF2-40B4-BE49-F238E27FC236}">
                  <a16:creationId xmlns:a16="http://schemas.microsoft.com/office/drawing/2014/main" id="{D73BA5C7-4A6B-435C-A040-E9B096CC1B08}"/>
                </a:ext>
              </a:extLst>
            </p:cNvPr>
            <p:cNvSpPr/>
            <p:nvPr/>
          </p:nvSpPr>
          <p:spPr bwMode="auto">
            <a:xfrm>
              <a:off x="2433990" y="3233934"/>
              <a:ext cx="1005840" cy="1005840"/>
            </a:xfrm>
            <a:prstGeom prst="ellipse">
              <a:avLst/>
            </a:prstGeom>
            <a:solidFill>
              <a:srgbClr val="F2F2F2"/>
            </a:solidFill>
            <a:ln w="76200">
              <a:solidFill>
                <a:srgbClr val="07AADB"/>
              </a:solidFill>
              <a:round/>
              <a:headEnd/>
              <a:tailEnd/>
            </a:ln>
          </p:spPr>
          <p:txBody>
            <a:bodyPr wrap="square" lIns="0" tIns="0" rIns="0" bIns="0" rtlCol="0" anchor="ctr">
              <a:noAutofit/>
            </a:bodyPr>
            <a:lstStyle/>
            <a:p>
              <a:pPr algn="l"/>
              <a:endParaRPr lang="en-US" dirty="0">
                <a:solidFill>
                  <a:schemeClr val="tx2"/>
                </a:solidFill>
              </a:endParaRPr>
            </a:p>
          </p:txBody>
        </p:sp>
        <p:sp>
          <p:nvSpPr>
            <p:cNvPr id="58" name="Graphic 8">
              <a:extLst>
                <a:ext uri="{FF2B5EF4-FFF2-40B4-BE49-F238E27FC236}">
                  <a16:creationId xmlns:a16="http://schemas.microsoft.com/office/drawing/2014/main" id="{DEF360C4-05A6-4B8D-BBD2-47323919E03E}"/>
                </a:ext>
              </a:extLst>
            </p:cNvPr>
            <p:cNvSpPr/>
            <p:nvPr/>
          </p:nvSpPr>
          <p:spPr>
            <a:xfrm>
              <a:off x="2708310" y="3508254"/>
              <a:ext cx="457200" cy="457200"/>
            </a:xfrm>
            <a:custGeom>
              <a:avLst/>
              <a:gdLst>
                <a:gd name="connsiteX0" fmla="*/ 918287 w 3126170"/>
                <a:gd name="connsiteY0" fmla="*/ 2734538 h 2749626"/>
                <a:gd name="connsiteX1" fmla="*/ 903293 w 3126170"/>
                <a:gd name="connsiteY1" fmla="*/ 2719552 h 2749626"/>
                <a:gd name="connsiteX2" fmla="*/ 903203 w 3126170"/>
                <a:gd name="connsiteY2" fmla="*/ 2537503 h 2749626"/>
                <a:gd name="connsiteX3" fmla="*/ 871180 w 3126170"/>
                <a:gd name="connsiteY3" fmla="*/ 2313590 h 2749626"/>
                <a:gd name="connsiteX4" fmla="*/ 617654 w 3126170"/>
                <a:gd name="connsiteY4" fmla="*/ 2297635 h 2749626"/>
                <a:gd name="connsiteX5" fmla="*/ 380961 w 3126170"/>
                <a:gd name="connsiteY5" fmla="*/ 2294171 h 2749626"/>
                <a:gd name="connsiteX6" fmla="*/ 350416 w 3126170"/>
                <a:gd name="connsiteY6" fmla="*/ 2278007 h 2749626"/>
                <a:gd name="connsiteX7" fmla="*/ 268514 w 3126170"/>
                <a:gd name="connsiteY7" fmla="*/ 2195181 h 2749626"/>
                <a:gd name="connsiteX8" fmla="*/ 224988 w 3126170"/>
                <a:gd name="connsiteY8" fmla="*/ 1990502 h 2749626"/>
                <a:gd name="connsiteX9" fmla="*/ 191358 w 3126170"/>
                <a:gd name="connsiteY9" fmla="*/ 1797994 h 2749626"/>
                <a:gd name="connsiteX10" fmla="*/ 117542 w 3126170"/>
                <a:gd name="connsiteY10" fmla="*/ 1784231 h 2749626"/>
                <a:gd name="connsiteX11" fmla="*/ 46793 w 3126170"/>
                <a:gd name="connsiteY11" fmla="*/ 1784231 h 2749626"/>
                <a:gd name="connsiteX12" fmla="*/ 26382 w 3126170"/>
                <a:gd name="connsiteY12" fmla="*/ 1763819 h 2749626"/>
                <a:gd name="connsiteX13" fmla="*/ 3876 w 3126170"/>
                <a:gd name="connsiteY13" fmla="*/ 1640675 h 2749626"/>
                <a:gd name="connsiteX14" fmla="*/ 116168 w 3126170"/>
                <a:gd name="connsiteY14" fmla="*/ 1315740 h 2749626"/>
                <a:gd name="connsiteX15" fmla="*/ 159078 w 3126170"/>
                <a:gd name="connsiteY15" fmla="*/ 1243535 h 2749626"/>
                <a:gd name="connsiteX16" fmla="*/ 149295 w 3126170"/>
                <a:gd name="connsiteY16" fmla="*/ 1118290 h 2749626"/>
                <a:gd name="connsiteX17" fmla="*/ 151955 w 3126170"/>
                <a:gd name="connsiteY17" fmla="*/ 778715 h 2749626"/>
                <a:gd name="connsiteX18" fmla="*/ 897315 w 3126170"/>
                <a:gd name="connsiteY18" fmla="*/ 15422 h 2749626"/>
                <a:gd name="connsiteX19" fmla="*/ 1031593 w 3126170"/>
                <a:gd name="connsiteY19" fmla="*/ 2560 h 2749626"/>
                <a:gd name="connsiteX20" fmla="*/ 1133922 w 3126170"/>
                <a:gd name="connsiteY20" fmla="*/ 12027 h 2749626"/>
                <a:gd name="connsiteX21" fmla="*/ 1132726 w 3126170"/>
                <a:gd name="connsiteY21" fmla="*/ 78321 h 2749626"/>
                <a:gd name="connsiteX22" fmla="*/ 1030397 w 3126170"/>
                <a:gd name="connsiteY22" fmla="*/ 93815 h 2749626"/>
                <a:gd name="connsiteX23" fmla="*/ 492545 w 3126170"/>
                <a:gd name="connsiteY23" fmla="*/ 323362 h 2749626"/>
                <a:gd name="connsiteX24" fmla="*/ 252065 w 3126170"/>
                <a:gd name="connsiteY24" fmla="*/ 735280 h 2749626"/>
                <a:gd name="connsiteX25" fmla="*/ 239823 w 3126170"/>
                <a:gd name="connsiteY25" fmla="*/ 1106352 h 2749626"/>
                <a:gd name="connsiteX26" fmla="*/ 206114 w 3126170"/>
                <a:gd name="connsiteY26" fmla="*/ 1341740 h 2749626"/>
                <a:gd name="connsiteX27" fmla="*/ 144428 w 3126170"/>
                <a:gd name="connsiteY27" fmla="*/ 1454308 h 2749626"/>
                <a:gd name="connsiteX28" fmla="*/ 93527 w 3126170"/>
                <a:gd name="connsiteY28" fmla="*/ 1648711 h 2749626"/>
                <a:gd name="connsiteX29" fmla="*/ 89204 w 3126170"/>
                <a:gd name="connsiteY29" fmla="*/ 1692584 h 2749626"/>
                <a:gd name="connsiteX30" fmla="*/ 156282 w 3126170"/>
                <a:gd name="connsiteY30" fmla="*/ 1692584 h 2749626"/>
                <a:gd name="connsiteX31" fmla="*/ 266406 w 3126170"/>
                <a:gd name="connsiteY31" fmla="*/ 1719138 h 2749626"/>
                <a:gd name="connsiteX32" fmla="*/ 308314 w 3126170"/>
                <a:gd name="connsiteY32" fmla="*/ 1939887 h 2749626"/>
                <a:gd name="connsiteX33" fmla="*/ 387099 w 3126170"/>
                <a:gd name="connsiteY33" fmla="*/ 2194257 h 2749626"/>
                <a:gd name="connsiteX34" fmla="*/ 631434 w 3126170"/>
                <a:gd name="connsiteY34" fmla="*/ 2208596 h 2749626"/>
                <a:gd name="connsiteX35" fmla="*/ 883505 w 3126170"/>
                <a:gd name="connsiteY35" fmla="*/ 2219079 h 2749626"/>
                <a:gd name="connsiteX36" fmla="*/ 978390 w 3126170"/>
                <a:gd name="connsiteY36" fmla="*/ 2299690 h 2749626"/>
                <a:gd name="connsiteX37" fmla="*/ 993714 w 3126170"/>
                <a:gd name="connsiteY37" fmla="*/ 2520739 h 2749626"/>
                <a:gd name="connsiteX38" fmla="*/ 982581 w 3126170"/>
                <a:gd name="connsiteY38" fmla="*/ 2733037 h 2749626"/>
                <a:gd name="connsiteX39" fmla="*/ 918292 w 3126170"/>
                <a:gd name="connsiteY39" fmla="*/ 2734515 h 2749626"/>
                <a:gd name="connsiteX40" fmla="*/ 2143590 w 3126170"/>
                <a:gd name="connsiteY40" fmla="*/ 2733037 h 2749626"/>
                <a:gd name="connsiteX41" fmla="*/ 2132461 w 3126170"/>
                <a:gd name="connsiteY41" fmla="*/ 2520739 h 2749626"/>
                <a:gd name="connsiteX42" fmla="*/ 2188661 w 3126170"/>
                <a:gd name="connsiteY42" fmla="*/ 2250368 h 2749626"/>
                <a:gd name="connsiteX43" fmla="*/ 2333549 w 3126170"/>
                <a:gd name="connsiteY43" fmla="*/ 2211875 h 2749626"/>
                <a:gd name="connsiteX44" fmla="*/ 2564031 w 3126170"/>
                <a:gd name="connsiteY44" fmla="*/ 2207834 h 2749626"/>
                <a:gd name="connsiteX45" fmla="*/ 2744246 w 3126170"/>
                <a:gd name="connsiteY45" fmla="*/ 2190955 h 2749626"/>
                <a:gd name="connsiteX46" fmla="*/ 2773847 w 3126170"/>
                <a:gd name="connsiteY46" fmla="*/ 2156826 h 2749626"/>
                <a:gd name="connsiteX47" fmla="*/ 2818249 w 3126170"/>
                <a:gd name="connsiteY47" fmla="*/ 1936978 h 2749626"/>
                <a:gd name="connsiteX48" fmla="*/ 2858910 w 3126170"/>
                <a:gd name="connsiteY48" fmla="*/ 1722001 h 2749626"/>
                <a:gd name="connsiteX49" fmla="*/ 2969810 w 3126170"/>
                <a:gd name="connsiteY49" fmla="*/ 1692584 h 2749626"/>
                <a:gd name="connsiteX50" fmla="*/ 3036817 w 3126170"/>
                <a:gd name="connsiteY50" fmla="*/ 1692584 h 2749626"/>
                <a:gd name="connsiteX51" fmla="*/ 3032660 w 3126170"/>
                <a:gd name="connsiteY51" fmla="*/ 1651343 h 2749626"/>
                <a:gd name="connsiteX52" fmla="*/ 2922846 w 3126170"/>
                <a:gd name="connsiteY52" fmla="*/ 1346797 h 2749626"/>
                <a:gd name="connsiteX53" fmla="*/ 2876551 w 3126170"/>
                <a:gd name="connsiteY53" fmla="*/ 1247321 h 2749626"/>
                <a:gd name="connsiteX54" fmla="*/ 2886341 w 3126170"/>
                <a:gd name="connsiteY54" fmla="*/ 1106352 h 2749626"/>
                <a:gd name="connsiteX55" fmla="*/ 2812500 w 3126170"/>
                <a:gd name="connsiteY55" fmla="*/ 565401 h 2749626"/>
                <a:gd name="connsiteX56" fmla="*/ 2647685 w 3126170"/>
                <a:gd name="connsiteY56" fmla="*/ 339017 h 2749626"/>
                <a:gd name="connsiteX57" fmla="*/ 2235095 w 3126170"/>
                <a:gd name="connsiteY57" fmla="*/ 109540 h 2749626"/>
                <a:gd name="connsiteX58" fmla="*/ 1841207 w 3126170"/>
                <a:gd name="connsiteY58" fmla="*/ 116975 h 2749626"/>
                <a:gd name="connsiteX59" fmla="*/ 1655224 w 3126170"/>
                <a:gd name="connsiteY59" fmla="*/ 188442 h 2749626"/>
                <a:gd name="connsiteX60" fmla="*/ 1711447 w 3126170"/>
                <a:gd name="connsiteY60" fmla="*/ 238549 h 2749626"/>
                <a:gd name="connsiteX61" fmla="*/ 1920335 w 3126170"/>
                <a:gd name="connsiteY61" fmla="*/ 485229 h 2749626"/>
                <a:gd name="connsiteX62" fmla="*/ 1915879 w 3126170"/>
                <a:gd name="connsiteY62" fmla="*/ 564477 h 2749626"/>
                <a:gd name="connsiteX63" fmla="*/ 1825852 w 3126170"/>
                <a:gd name="connsiteY63" fmla="*/ 506404 h 2749626"/>
                <a:gd name="connsiteX64" fmla="*/ 1598333 w 3126170"/>
                <a:gd name="connsiteY64" fmla="*/ 263533 h 2749626"/>
                <a:gd name="connsiteX65" fmla="*/ 1563341 w 3126170"/>
                <a:gd name="connsiteY65" fmla="*/ 237302 h 2749626"/>
                <a:gd name="connsiteX66" fmla="*/ 1521968 w 3126170"/>
                <a:gd name="connsiteY66" fmla="*/ 266720 h 2749626"/>
                <a:gd name="connsiteX67" fmla="*/ 1329019 w 3126170"/>
                <a:gd name="connsiteY67" fmla="*/ 463131 h 2749626"/>
                <a:gd name="connsiteX68" fmla="*/ 1176999 w 3126170"/>
                <a:gd name="connsiteY68" fmla="*/ 808664 h 2749626"/>
                <a:gd name="connsiteX69" fmla="*/ 1163500 w 3126170"/>
                <a:gd name="connsiteY69" fmla="*/ 983923 h 2749626"/>
                <a:gd name="connsiteX70" fmla="*/ 1215006 w 3126170"/>
                <a:gd name="connsiteY70" fmla="*/ 1302139 h 2749626"/>
                <a:gd name="connsiteX71" fmla="*/ 1214134 w 3126170"/>
                <a:gd name="connsiteY71" fmla="*/ 1427246 h 2749626"/>
                <a:gd name="connsiteX72" fmla="*/ 1177336 w 3126170"/>
                <a:gd name="connsiteY72" fmla="*/ 1429555 h 2749626"/>
                <a:gd name="connsiteX73" fmla="*/ 1124328 w 3126170"/>
                <a:gd name="connsiteY73" fmla="*/ 1316894 h 2749626"/>
                <a:gd name="connsiteX74" fmla="*/ 1070402 w 3126170"/>
                <a:gd name="connsiteY74" fmla="*/ 941159 h 2749626"/>
                <a:gd name="connsiteX75" fmla="*/ 1417303 w 3126170"/>
                <a:gd name="connsiteY75" fmla="*/ 234139 h 2749626"/>
                <a:gd name="connsiteX76" fmla="*/ 1472342 w 3126170"/>
                <a:gd name="connsiteY76" fmla="*/ 187333 h 2749626"/>
                <a:gd name="connsiteX77" fmla="*/ 1442872 w 3126170"/>
                <a:gd name="connsiteY77" fmla="*/ 172324 h 2749626"/>
                <a:gd name="connsiteX78" fmla="*/ 1352882 w 3126170"/>
                <a:gd name="connsiteY78" fmla="*/ 136949 h 2749626"/>
                <a:gd name="connsiteX79" fmla="*/ 1281099 w 3126170"/>
                <a:gd name="connsiteY79" fmla="*/ 106353 h 2749626"/>
                <a:gd name="connsiteX80" fmla="*/ 1310145 w 3126170"/>
                <a:gd name="connsiteY80" fmla="*/ 30869 h 2749626"/>
                <a:gd name="connsiteX81" fmla="*/ 1499500 w 3126170"/>
                <a:gd name="connsiteY81" fmla="*/ 98064 h 2749626"/>
                <a:gd name="connsiteX82" fmla="*/ 1562177 w 3126170"/>
                <a:gd name="connsiteY82" fmla="*/ 128290 h 2749626"/>
                <a:gd name="connsiteX83" fmla="*/ 1625244 w 3126170"/>
                <a:gd name="connsiteY83" fmla="*/ 98226 h 2749626"/>
                <a:gd name="connsiteX84" fmla="*/ 2161346 w 3126170"/>
                <a:gd name="connsiteY84" fmla="*/ 6047 h 2749626"/>
                <a:gd name="connsiteX85" fmla="*/ 2888373 w 3126170"/>
                <a:gd name="connsiteY85" fmla="*/ 516563 h 2749626"/>
                <a:gd name="connsiteX86" fmla="*/ 2977545 w 3126170"/>
                <a:gd name="connsiteY86" fmla="*/ 1106998 h 2749626"/>
                <a:gd name="connsiteX87" fmla="*/ 2966901 w 3126170"/>
                <a:gd name="connsiteY87" fmla="*/ 1243604 h 2749626"/>
                <a:gd name="connsiteX88" fmla="*/ 3009917 w 3126170"/>
                <a:gd name="connsiteY88" fmla="*/ 1315786 h 2749626"/>
                <a:gd name="connsiteX89" fmla="*/ 3122295 w 3126170"/>
                <a:gd name="connsiteY89" fmla="*/ 1640721 h 2749626"/>
                <a:gd name="connsiteX90" fmla="*/ 3099782 w 3126170"/>
                <a:gd name="connsiteY90" fmla="*/ 1763888 h 2749626"/>
                <a:gd name="connsiteX91" fmla="*/ 3079371 w 3126170"/>
                <a:gd name="connsiteY91" fmla="*/ 1784301 h 2749626"/>
                <a:gd name="connsiteX92" fmla="*/ 3008624 w 3126170"/>
                <a:gd name="connsiteY92" fmla="*/ 1784301 h 2749626"/>
                <a:gd name="connsiteX93" fmla="*/ 2934806 w 3126170"/>
                <a:gd name="connsiteY93" fmla="*/ 1798040 h 2749626"/>
                <a:gd name="connsiteX94" fmla="*/ 2901187 w 3126170"/>
                <a:gd name="connsiteY94" fmla="*/ 1990502 h 2749626"/>
                <a:gd name="connsiteX95" fmla="*/ 2820604 w 3126170"/>
                <a:gd name="connsiteY95" fmla="*/ 2246442 h 2749626"/>
                <a:gd name="connsiteX96" fmla="*/ 2772693 w 3126170"/>
                <a:gd name="connsiteY96" fmla="*/ 2279947 h 2749626"/>
                <a:gd name="connsiteX97" fmla="*/ 2508523 w 3126170"/>
                <a:gd name="connsiteY97" fmla="*/ 2297704 h 2749626"/>
                <a:gd name="connsiteX98" fmla="*/ 2254998 w 3126170"/>
                <a:gd name="connsiteY98" fmla="*/ 2313660 h 2749626"/>
                <a:gd name="connsiteX99" fmla="*/ 2222996 w 3126170"/>
                <a:gd name="connsiteY99" fmla="*/ 2537572 h 2749626"/>
                <a:gd name="connsiteX100" fmla="*/ 2222903 w 3126170"/>
                <a:gd name="connsiteY100" fmla="*/ 2719598 h 2749626"/>
                <a:gd name="connsiteX101" fmla="*/ 2207895 w 3126170"/>
                <a:gd name="connsiteY101" fmla="*/ 2734607 h 2749626"/>
                <a:gd name="connsiteX102" fmla="*/ 2143613 w 3126170"/>
                <a:gd name="connsiteY102" fmla="*/ 2733106 h 2749626"/>
                <a:gd name="connsiteX103" fmla="*/ 1306495 w 3126170"/>
                <a:gd name="connsiteY103" fmla="*/ 2731213 h 2749626"/>
                <a:gd name="connsiteX104" fmla="*/ 1294276 w 3126170"/>
                <a:gd name="connsiteY104" fmla="*/ 2345918 h 2749626"/>
                <a:gd name="connsiteX105" fmla="*/ 1300757 w 3126170"/>
                <a:gd name="connsiteY105" fmla="*/ 1960738 h 2749626"/>
                <a:gd name="connsiteX106" fmla="*/ 1379013 w 3126170"/>
                <a:gd name="connsiteY106" fmla="*/ 1965172 h 2749626"/>
                <a:gd name="connsiteX107" fmla="*/ 1385914 w 3126170"/>
                <a:gd name="connsiteY107" fmla="*/ 2345779 h 2749626"/>
                <a:gd name="connsiteX108" fmla="*/ 1373252 w 3126170"/>
                <a:gd name="connsiteY108" fmla="*/ 2727333 h 2749626"/>
                <a:gd name="connsiteX109" fmla="*/ 1306495 w 3126170"/>
                <a:gd name="connsiteY109" fmla="*/ 2731213 h 2749626"/>
                <a:gd name="connsiteX110" fmla="*/ 1752912 w 3126170"/>
                <a:gd name="connsiteY110" fmla="*/ 2727333 h 2749626"/>
                <a:gd name="connsiteX111" fmla="*/ 1740259 w 3126170"/>
                <a:gd name="connsiteY111" fmla="*/ 2290292 h 2749626"/>
                <a:gd name="connsiteX112" fmla="*/ 1740259 w 3126170"/>
                <a:gd name="connsiteY112" fmla="*/ 1869344 h 2749626"/>
                <a:gd name="connsiteX113" fmla="*/ 1780573 w 3126170"/>
                <a:gd name="connsiteY113" fmla="*/ 1733616 h 2749626"/>
                <a:gd name="connsiteX114" fmla="*/ 1866098 w 3126170"/>
                <a:gd name="connsiteY114" fmla="*/ 1570386 h 2749626"/>
                <a:gd name="connsiteX115" fmla="*/ 1911307 w 3126170"/>
                <a:gd name="connsiteY115" fmla="*/ 1608948 h 2749626"/>
                <a:gd name="connsiteX116" fmla="*/ 1871593 w 3126170"/>
                <a:gd name="connsiteY116" fmla="*/ 1749456 h 2749626"/>
                <a:gd name="connsiteX117" fmla="*/ 1831879 w 3126170"/>
                <a:gd name="connsiteY117" fmla="*/ 1881421 h 2749626"/>
                <a:gd name="connsiteX118" fmla="*/ 1831879 w 3126170"/>
                <a:gd name="connsiteY118" fmla="*/ 2300198 h 2749626"/>
                <a:gd name="connsiteX119" fmla="*/ 1819664 w 3126170"/>
                <a:gd name="connsiteY119" fmla="*/ 2731190 h 2749626"/>
                <a:gd name="connsiteX120" fmla="*/ 1752912 w 3126170"/>
                <a:gd name="connsiteY120" fmla="*/ 2727310 h 2749626"/>
                <a:gd name="connsiteX121" fmla="*/ 958117 w 3126170"/>
                <a:gd name="connsiteY121" fmla="*/ 1987662 h 2749626"/>
                <a:gd name="connsiteX122" fmla="*/ 646752 w 3126170"/>
                <a:gd name="connsiteY122" fmla="*/ 1723202 h 2749626"/>
                <a:gd name="connsiteX123" fmla="*/ 646796 w 3126170"/>
                <a:gd name="connsiteY123" fmla="*/ 1649681 h 2749626"/>
                <a:gd name="connsiteX124" fmla="*/ 962825 w 3126170"/>
                <a:gd name="connsiteY124" fmla="*/ 1381849 h 2749626"/>
                <a:gd name="connsiteX125" fmla="*/ 1040681 w 3126170"/>
                <a:gd name="connsiteY125" fmla="*/ 1388153 h 2749626"/>
                <a:gd name="connsiteX126" fmla="*/ 1074365 w 3126170"/>
                <a:gd name="connsiteY126" fmla="*/ 1484673 h 2749626"/>
                <a:gd name="connsiteX127" fmla="*/ 1074365 w 3126170"/>
                <a:gd name="connsiteY127" fmla="*/ 1527645 h 2749626"/>
                <a:gd name="connsiteX128" fmla="*/ 1274440 w 3126170"/>
                <a:gd name="connsiteY128" fmla="*/ 1527737 h 2749626"/>
                <a:gd name="connsiteX129" fmla="*/ 1518613 w 3126170"/>
                <a:gd name="connsiteY129" fmla="*/ 1563760 h 2749626"/>
                <a:gd name="connsiteX130" fmla="*/ 1532539 w 3126170"/>
                <a:gd name="connsiteY130" fmla="*/ 1686487 h 2749626"/>
                <a:gd name="connsiteX131" fmla="*/ 1518611 w 3126170"/>
                <a:gd name="connsiteY131" fmla="*/ 1809216 h 2749626"/>
                <a:gd name="connsiteX132" fmla="*/ 1274437 w 3126170"/>
                <a:gd name="connsiteY132" fmla="*/ 1845237 h 2749626"/>
                <a:gd name="connsiteX133" fmla="*/ 1074362 w 3126170"/>
                <a:gd name="connsiteY133" fmla="*/ 1845330 h 2749626"/>
                <a:gd name="connsiteX134" fmla="*/ 1074362 w 3126170"/>
                <a:gd name="connsiteY134" fmla="*/ 1888302 h 2749626"/>
                <a:gd name="connsiteX135" fmla="*/ 1040679 w 3126170"/>
                <a:gd name="connsiteY135" fmla="*/ 1984822 h 2749626"/>
                <a:gd name="connsiteX136" fmla="*/ 958122 w 3126170"/>
                <a:gd name="connsiteY136" fmla="*/ 1987662 h 2749626"/>
                <a:gd name="connsiteX137" fmla="*/ 1000198 w 3126170"/>
                <a:gd name="connsiteY137" fmla="*/ 1765343 h 2749626"/>
                <a:gd name="connsiteX138" fmla="*/ 1227764 w 3126170"/>
                <a:gd name="connsiteY138" fmla="*/ 1753682 h 2749626"/>
                <a:gd name="connsiteX139" fmla="*/ 1440907 w 3126170"/>
                <a:gd name="connsiteY139" fmla="*/ 1753682 h 2749626"/>
                <a:gd name="connsiteX140" fmla="*/ 1440907 w 3126170"/>
                <a:gd name="connsiteY140" fmla="*/ 1619709 h 2749626"/>
                <a:gd name="connsiteX141" fmla="*/ 1224242 w 3126170"/>
                <a:gd name="connsiteY141" fmla="*/ 1617977 h 2749626"/>
                <a:gd name="connsiteX142" fmla="*/ 996677 w 3126170"/>
                <a:gd name="connsiteY142" fmla="*/ 1605346 h 2749626"/>
                <a:gd name="connsiteX143" fmla="*/ 982719 w 3126170"/>
                <a:gd name="connsiteY143" fmla="*/ 1538821 h 2749626"/>
                <a:gd name="connsiteX144" fmla="*/ 979664 w 3126170"/>
                <a:gd name="connsiteY144" fmla="*/ 1483195 h 2749626"/>
                <a:gd name="connsiteX145" fmla="*/ 859395 w 3126170"/>
                <a:gd name="connsiteY145" fmla="*/ 1583294 h 2749626"/>
                <a:gd name="connsiteX146" fmla="*/ 739152 w 3126170"/>
                <a:gd name="connsiteY146" fmla="*/ 1686464 h 2749626"/>
                <a:gd name="connsiteX147" fmla="*/ 859422 w 3126170"/>
                <a:gd name="connsiteY147" fmla="*/ 1789565 h 2749626"/>
                <a:gd name="connsiteX148" fmla="*/ 979664 w 3126170"/>
                <a:gd name="connsiteY148" fmla="*/ 1889618 h 2749626"/>
                <a:gd name="connsiteX149" fmla="*/ 982719 w 3126170"/>
                <a:gd name="connsiteY149" fmla="*/ 1833299 h 2749626"/>
                <a:gd name="connsiteX150" fmla="*/ 1000196 w 3126170"/>
                <a:gd name="connsiteY150" fmla="*/ 1765343 h 2749626"/>
                <a:gd name="connsiteX151" fmla="*/ 1887340 w 3126170"/>
                <a:gd name="connsiteY151" fmla="*/ 1456548 h 2749626"/>
                <a:gd name="connsiteX152" fmla="*/ 1874664 w 3126170"/>
                <a:gd name="connsiteY152" fmla="*/ 1431749 h 2749626"/>
                <a:gd name="connsiteX153" fmla="*/ 1904681 w 3126170"/>
                <a:gd name="connsiteY153" fmla="*/ 1323545 h 2749626"/>
                <a:gd name="connsiteX154" fmla="*/ 1947766 w 3126170"/>
                <a:gd name="connsiteY154" fmla="*/ 1163640 h 2749626"/>
                <a:gd name="connsiteX155" fmla="*/ 2000849 w 3126170"/>
                <a:gd name="connsiteY155" fmla="*/ 1081644 h 2749626"/>
                <a:gd name="connsiteX156" fmla="*/ 2045667 w 3126170"/>
                <a:gd name="connsiteY156" fmla="*/ 1125932 h 2749626"/>
                <a:gd name="connsiteX157" fmla="*/ 1950906 w 3126170"/>
                <a:gd name="connsiteY157" fmla="*/ 1460566 h 2749626"/>
                <a:gd name="connsiteX158" fmla="*/ 1887340 w 3126170"/>
                <a:gd name="connsiteY158" fmla="*/ 1456548 h 2749626"/>
                <a:gd name="connsiteX159" fmla="*/ 2260101 w 3126170"/>
                <a:gd name="connsiteY159" fmla="*/ 1134753 h 2749626"/>
                <a:gd name="connsiteX160" fmla="*/ 2210666 w 3126170"/>
                <a:gd name="connsiteY160" fmla="*/ 1039988 h 2749626"/>
                <a:gd name="connsiteX161" fmla="*/ 2207618 w 3126170"/>
                <a:gd name="connsiteY161" fmla="*/ 986948 h 2749626"/>
                <a:gd name="connsiteX162" fmla="*/ 1999302 w 3126170"/>
                <a:gd name="connsiteY162" fmla="*/ 983877 h 2749626"/>
                <a:gd name="connsiteX163" fmla="*/ 1761247 w 3126170"/>
                <a:gd name="connsiteY163" fmla="*/ 946447 h 2749626"/>
                <a:gd name="connsiteX164" fmla="*/ 1752496 w 3126170"/>
                <a:gd name="connsiteY164" fmla="*/ 823118 h 2749626"/>
                <a:gd name="connsiteX165" fmla="*/ 1765242 w 3126170"/>
                <a:gd name="connsiteY165" fmla="*/ 700506 h 2749626"/>
                <a:gd name="connsiteX166" fmla="*/ 2011817 w 3126170"/>
                <a:gd name="connsiteY166" fmla="*/ 666193 h 2749626"/>
                <a:gd name="connsiteX167" fmla="*/ 2210666 w 3126170"/>
                <a:gd name="connsiteY167" fmla="*/ 666193 h 2749626"/>
                <a:gd name="connsiteX168" fmla="*/ 2210666 w 3126170"/>
                <a:gd name="connsiteY168" fmla="*/ 614469 h 2749626"/>
                <a:gd name="connsiteX169" fmla="*/ 2229461 w 3126170"/>
                <a:gd name="connsiteY169" fmla="*/ 541340 h 2749626"/>
                <a:gd name="connsiteX170" fmla="*/ 2305588 w 3126170"/>
                <a:gd name="connsiteY170" fmla="*/ 516009 h 2749626"/>
                <a:gd name="connsiteX171" fmla="*/ 2624826 w 3126170"/>
                <a:gd name="connsiteY171" fmla="*/ 777629 h 2749626"/>
                <a:gd name="connsiteX172" fmla="*/ 2638334 w 3126170"/>
                <a:gd name="connsiteY172" fmla="*/ 855561 h 2749626"/>
                <a:gd name="connsiteX173" fmla="*/ 2319395 w 3126170"/>
                <a:gd name="connsiteY173" fmla="*/ 1128981 h 2749626"/>
                <a:gd name="connsiteX174" fmla="*/ 2260124 w 3126170"/>
                <a:gd name="connsiteY174" fmla="*/ 1134753 h 2749626"/>
                <a:gd name="connsiteX175" fmla="*/ 2429002 w 3126170"/>
                <a:gd name="connsiteY175" fmla="*/ 924210 h 2749626"/>
                <a:gd name="connsiteX176" fmla="*/ 2539348 w 3126170"/>
                <a:gd name="connsiteY176" fmla="*/ 825151 h 2749626"/>
                <a:gd name="connsiteX177" fmla="*/ 2420505 w 3126170"/>
                <a:gd name="connsiteY177" fmla="*/ 722049 h 2749626"/>
                <a:gd name="connsiteX178" fmla="*/ 2303510 w 3126170"/>
                <a:gd name="connsiteY178" fmla="*/ 623821 h 2749626"/>
                <a:gd name="connsiteX179" fmla="*/ 2301385 w 3126170"/>
                <a:gd name="connsiteY179" fmla="*/ 679146 h 2749626"/>
                <a:gd name="connsiteX180" fmla="*/ 2057258 w 3126170"/>
                <a:gd name="connsiteY180" fmla="*/ 757840 h 2749626"/>
                <a:gd name="connsiteX181" fmla="*/ 1844116 w 3126170"/>
                <a:gd name="connsiteY181" fmla="*/ 757840 h 2749626"/>
                <a:gd name="connsiteX182" fmla="*/ 1844116 w 3126170"/>
                <a:gd name="connsiteY182" fmla="*/ 898349 h 2749626"/>
                <a:gd name="connsiteX183" fmla="*/ 2276980 w 3126170"/>
                <a:gd name="connsiteY183" fmla="*/ 898349 h 2749626"/>
                <a:gd name="connsiteX184" fmla="*/ 2289633 w 3126170"/>
                <a:gd name="connsiteY184" fmla="*/ 914443 h 2749626"/>
                <a:gd name="connsiteX185" fmla="*/ 2302286 w 3126170"/>
                <a:gd name="connsiteY185" fmla="*/ 978959 h 2749626"/>
                <a:gd name="connsiteX186" fmla="*/ 2309536 w 3126170"/>
                <a:gd name="connsiteY186" fmla="*/ 1022901 h 2749626"/>
                <a:gd name="connsiteX187" fmla="*/ 2428979 w 3126170"/>
                <a:gd name="connsiteY187" fmla="*/ 924210 h 274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3126170" h="2749626">
                  <a:moveTo>
                    <a:pt x="918287" y="2734538"/>
                  </a:moveTo>
                  <a:lnTo>
                    <a:pt x="903293" y="2719552"/>
                  </a:lnTo>
                  <a:lnTo>
                    <a:pt x="903203" y="2537503"/>
                  </a:lnTo>
                  <a:cubicBezTo>
                    <a:pt x="903106" y="2342131"/>
                    <a:pt x="902332" y="2336728"/>
                    <a:pt x="871180" y="2313590"/>
                  </a:cubicBezTo>
                  <a:cubicBezTo>
                    <a:pt x="855095" y="2301653"/>
                    <a:pt x="843684" y="2300937"/>
                    <a:pt x="617654" y="2297635"/>
                  </a:cubicBezTo>
                  <a:lnTo>
                    <a:pt x="380961" y="2294171"/>
                  </a:lnTo>
                  <a:lnTo>
                    <a:pt x="350416" y="2278007"/>
                  </a:lnTo>
                  <a:cubicBezTo>
                    <a:pt x="314124" y="2258819"/>
                    <a:pt x="286289" y="2230671"/>
                    <a:pt x="268514" y="2195181"/>
                  </a:cubicBezTo>
                  <a:cubicBezTo>
                    <a:pt x="259814" y="2177793"/>
                    <a:pt x="245494" y="2110460"/>
                    <a:pt x="224988" y="1990502"/>
                  </a:cubicBezTo>
                  <a:cubicBezTo>
                    <a:pt x="208176" y="1892181"/>
                    <a:pt x="193043" y="1805544"/>
                    <a:pt x="191358" y="1797994"/>
                  </a:cubicBezTo>
                  <a:cubicBezTo>
                    <a:pt x="188393" y="1784693"/>
                    <a:pt x="185929" y="1784231"/>
                    <a:pt x="117542" y="1784231"/>
                  </a:cubicBezTo>
                  <a:lnTo>
                    <a:pt x="46793" y="1784231"/>
                  </a:lnTo>
                  <a:lnTo>
                    <a:pt x="26382" y="1763819"/>
                  </a:lnTo>
                  <a:cubicBezTo>
                    <a:pt x="-1074" y="1736364"/>
                    <a:pt x="-4166" y="1719438"/>
                    <a:pt x="3876" y="1640675"/>
                  </a:cubicBezTo>
                  <a:cubicBezTo>
                    <a:pt x="16453" y="1517462"/>
                    <a:pt x="44516" y="1436274"/>
                    <a:pt x="116168" y="1315740"/>
                  </a:cubicBezTo>
                  <a:lnTo>
                    <a:pt x="159078" y="1243535"/>
                  </a:lnTo>
                  <a:lnTo>
                    <a:pt x="149295" y="1118290"/>
                  </a:lnTo>
                  <a:cubicBezTo>
                    <a:pt x="136219" y="950904"/>
                    <a:pt x="136875" y="866922"/>
                    <a:pt x="151955" y="778715"/>
                  </a:cubicBezTo>
                  <a:cubicBezTo>
                    <a:pt x="218100" y="391803"/>
                    <a:pt x="509500" y="93376"/>
                    <a:pt x="897315" y="15422"/>
                  </a:cubicBezTo>
                  <a:cubicBezTo>
                    <a:pt x="922448" y="10388"/>
                    <a:pt x="982874" y="4592"/>
                    <a:pt x="1031593" y="2560"/>
                  </a:cubicBezTo>
                  <a:cubicBezTo>
                    <a:pt x="1116508" y="-973"/>
                    <a:pt x="1120745" y="-581"/>
                    <a:pt x="1133922" y="12027"/>
                  </a:cubicBezTo>
                  <a:cubicBezTo>
                    <a:pt x="1153117" y="30384"/>
                    <a:pt x="1152533" y="62735"/>
                    <a:pt x="1132726" y="78321"/>
                  </a:cubicBezTo>
                  <a:cubicBezTo>
                    <a:pt x="1120188" y="88181"/>
                    <a:pt x="1103732" y="90675"/>
                    <a:pt x="1030397" y="93815"/>
                  </a:cubicBezTo>
                  <a:cubicBezTo>
                    <a:pt x="820763" y="102798"/>
                    <a:pt x="643852" y="178305"/>
                    <a:pt x="492545" y="323362"/>
                  </a:cubicBezTo>
                  <a:cubicBezTo>
                    <a:pt x="369223" y="441587"/>
                    <a:pt x="292532" y="572951"/>
                    <a:pt x="252065" y="735280"/>
                  </a:cubicBezTo>
                  <a:cubicBezTo>
                    <a:pt x="230811" y="820532"/>
                    <a:pt x="226669" y="946078"/>
                    <a:pt x="239823" y="1106352"/>
                  </a:cubicBezTo>
                  <a:cubicBezTo>
                    <a:pt x="253658" y="1274938"/>
                    <a:pt x="256076" y="1258059"/>
                    <a:pt x="206114" y="1341740"/>
                  </a:cubicBezTo>
                  <a:cubicBezTo>
                    <a:pt x="182184" y="1381803"/>
                    <a:pt x="154426" y="1432464"/>
                    <a:pt x="144428" y="1454308"/>
                  </a:cubicBezTo>
                  <a:cubicBezTo>
                    <a:pt x="122079" y="1503146"/>
                    <a:pt x="99299" y="1590152"/>
                    <a:pt x="93527" y="1648711"/>
                  </a:cubicBezTo>
                  <a:lnTo>
                    <a:pt x="89204" y="1692584"/>
                  </a:lnTo>
                  <a:lnTo>
                    <a:pt x="156282" y="1692584"/>
                  </a:lnTo>
                  <a:cubicBezTo>
                    <a:pt x="231097" y="1692584"/>
                    <a:pt x="257175" y="1698864"/>
                    <a:pt x="266406" y="1719138"/>
                  </a:cubicBezTo>
                  <a:cubicBezTo>
                    <a:pt x="269844" y="1726689"/>
                    <a:pt x="288702" y="1826003"/>
                    <a:pt x="308314" y="1939887"/>
                  </a:cubicBezTo>
                  <a:cubicBezTo>
                    <a:pt x="346260" y="2160197"/>
                    <a:pt x="350254" y="2173105"/>
                    <a:pt x="387099" y="2194257"/>
                  </a:cubicBezTo>
                  <a:cubicBezTo>
                    <a:pt x="403139" y="2203447"/>
                    <a:pt x="433373" y="2205225"/>
                    <a:pt x="631434" y="2208596"/>
                  </a:cubicBezTo>
                  <a:cubicBezTo>
                    <a:pt x="760635" y="2210790"/>
                    <a:pt x="868612" y="2215269"/>
                    <a:pt x="883505" y="2219079"/>
                  </a:cubicBezTo>
                  <a:cubicBezTo>
                    <a:pt x="915177" y="2227184"/>
                    <a:pt x="959948" y="2265215"/>
                    <a:pt x="978390" y="2299690"/>
                  </a:cubicBezTo>
                  <a:cubicBezTo>
                    <a:pt x="991373" y="2323958"/>
                    <a:pt x="991948" y="2332271"/>
                    <a:pt x="993714" y="2520739"/>
                  </a:cubicBezTo>
                  <a:cubicBezTo>
                    <a:pt x="995511" y="2712486"/>
                    <a:pt x="995280" y="2716896"/>
                    <a:pt x="982581" y="2733037"/>
                  </a:cubicBezTo>
                  <a:cubicBezTo>
                    <a:pt x="965716" y="2754465"/>
                    <a:pt x="938863" y="2755089"/>
                    <a:pt x="918292" y="2734515"/>
                  </a:cubicBezTo>
                  <a:close/>
                  <a:moveTo>
                    <a:pt x="2143590" y="2733037"/>
                  </a:moveTo>
                  <a:cubicBezTo>
                    <a:pt x="2130891" y="2716896"/>
                    <a:pt x="2130660" y="2712486"/>
                    <a:pt x="2132461" y="2520739"/>
                  </a:cubicBezTo>
                  <a:cubicBezTo>
                    <a:pt x="2134539" y="2297843"/>
                    <a:pt x="2134493" y="2298050"/>
                    <a:pt x="2188661" y="2250368"/>
                  </a:cubicBezTo>
                  <a:cubicBezTo>
                    <a:pt x="2224704" y="2218641"/>
                    <a:pt x="2250080" y="2211898"/>
                    <a:pt x="2333549" y="2211875"/>
                  </a:cubicBezTo>
                  <a:cubicBezTo>
                    <a:pt x="2371786" y="2211875"/>
                    <a:pt x="2475505" y="2210051"/>
                    <a:pt x="2564031" y="2207834"/>
                  </a:cubicBezTo>
                  <a:cubicBezTo>
                    <a:pt x="2713606" y="2204070"/>
                    <a:pt x="2726329" y="2202893"/>
                    <a:pt x="2744246" y="2190955"/>
                  </a:cubicBezTo>
                  <a:cubicBezTo>
                    <a:pt x="2754845" y="2183912"/>
                    <a:pt x="2768167" y="2168557"/>
                    <a:pt x="2773847" y="2156826"/>
                  </a:cubicBezTo>
                  <a:cubicBezTo>
                    <a:pt x="2779528" y="2145119"/>
                    <a:pt x="2799523" y="2046175"/>
                    <a:pt x="2818249" y="1936978"/>
                  </a:cubicBezTo>
                  <a:cubicBezTo>
                    <a:pt x="2836998" y="1827758"/>
                    <a:pt x="2855285" y="1731030"/>
                    <a:pt x="2858910" y="1722001"/>
                  </a:cubicBezTo>
                  <a:cubicBezTo>
                    <a:pt x="2868146" y="1698933"/>
                    <a:pt x="2892113" y="1692584"/>
                    <a:pt x="2969810" y="1692584"/>
                  </a:cubicBezTo>
                  <a:lnTo>
                    <a:pt x="3036817" y="1692584"/>
                  </a:lnTo>
                  <a:lnTo>
                    <a:pt x="3032660" y="1651343"/>
                  </a:lnTo>
                  <a:cubicBezTo>
                    <a:pt x="3021739" y="1543301"/>
                    <a:pt x="2994193" y="1466893"/>
                    <a:pt x="2922846" y="1346797"/>
                  </a:cubicBezTo>
                  <a:cubicBezTo>
                    <a:pt x="2888650" y="1289255"/>
                    <a:pt x="2876551" y="1263254"/>
                    <a:pt x="2876551" y="1247321"/>
                  </a:cubicBezTo>
                  <a:cubicBezTo>
                    <a:pt x="2876551" y="1235476"/>
                    <a:pt x="2880961" y="1172045"/>
                    <a:pt x="2886341" y="1106352"/>
                  </a:cubicBezTo>
                  <a:cubicBezTo>
                    <a:pt x="2906706" y="857408"/>
                    <a:pt x="2888026" y="720456"/>
                    <a:pt x="2812500" y="565401"/>
                  </a:cubicBezTo>
                  <a:cubicBezTo>
                    <a:pt x="2769276" y="476686"/>
                    <a:pt x="2726652" y="418127"/>
                    <a:pt x="2647685" y="339017"/>
                  </a:cubicBezTo>
                  <a:cubicBezTo>
                    <a:pt x="2524917" y="216012"/>
                    <a:pt x="2402957" y="148194"/>
                    <a:pt x="2235095" y="109540"/>
                  </a:cubicBezTo>
                  <a:cubicBezTo>
                    <a:pt x="2127196" y="84717"/>
                    <a:pt x="1956078" y="87950"/>
                    <a:pt x="1841207" y="116975"/>
                  </a:cubicBezTo>
                  <a:cubicBezTo>
                    <a:pt x="1764272" y="136441"/>
                    <a:pt x="1654062" y="178766"/>
                    <a:pt x="1655224" y="188442"/>
                  </a:cubicBezTo>
                  <a:cubicBezTo>
                    <a:pt x="1655508" y="190797"/>
                    <a:pt x="1680807" y="213357"/>
                    <a:pt x="1711447" y="238549"/>
                  </a:cubicBezTo>
                  <a:cubicBezTo>
                    <a:pt x="1788562" y="301980"/>
                    <a:pt x="1867737" y="395498"/>
                    <a:pt x="1920335" y="485229"/>
                  </a:cubicBezTo>
                  <a:cubicBezTo>
                    <a:pt x="1940862" y="520258"/>
                    <a:pt x="1939361" y="547020"/>
                    <a:pt x="1915879" y="564477"/>
                  </a:cubicBezTo>
                  <a:cubicBezTo>
                    <a:pt x="1888426" y="584889"/>
                    <a:pt x="1871662" y="574060"/>
                    <a:pt x="1825852" y="506404"/>
                  </a:cubicBezTo>
                  <a:cubicBezTo>
                    <a:pt x="1753859" y="400070"/>
                    <a:pt x="1691133" y="333106"/>
                    <a:pt x="1598333" y="263533"/>
                  </a:cubicBezTo>
                  <a:lnTo>
                    <a:pt x="1563341" y="237302"/>
                  </a:lnTo>
                  <a:lnTo>
                    <a:pt x="1521968" y="266720"/>
                  </a:lnTo>
                  <a:cubicBezTo>
                    <a:pt x="1467038" y="305790"/>
                    <a:pt x="1373067" y="401432"/>
                    <a:pt x="1329019" y="463131"/>
                  </a:cubicBezTo>
                  <a:cubicBezTo>
                    <a:pt x="1257314" y="563553"/>
                    <a:pt x="1203723" y="685358"/>
                    <a:pt x="1176999" y="808664"/>
                  </a:cubicBezTo>
                  <a:cubicBezTo>
                    <a:pt x="1165814" y="860272"/>
                    <a:pt x="1163505" y="890221"/>
                    <a:pt x="1163500" y="983923"/>
                  </a:cubicBezTo>
                  <a:cubicBezTo>
                    <a:pt x="1163496" y="1111201"/>
                    <a:pt x="1169841" y="1150409"/>
                    <a:pt x="1215006" y="1302139"/>
                  </a:cubicBezTo>
                  <a:cubicBezTo>
                    <a:pt x="1243238" y="1396997"/>
                    <a:pt x="1243132" y="1412237"/>
                    <a:pt x="1214134" y="1427246"/>
                  </a:cubicBezTo>
                  <a:cubicBezTo>
                    <a:pt x="1198520" y="1435305"/>
                    <a:pt x="1192178" y="1435720"/>
                    <a:pt x="1177336" y="1429555"/>
                  </a:cubicBezTo>
                  <a:cubicBezTo>
                    <a:pt x="1154500" y="1420111"/>
                    <a:pt x="1153941" y="1418910"/>
                    <a:pt x="1124328" y="1316894"/>
                  </a:cubicBezTo>
                  <a:cubicBezTo>
                    <a:pt x="1076080" y="1150663"/>
                    <a:pt x="1064394" y="1069267"/>
                    <a:pt x="1070402" y="941159"/>
                  </a:cubicBezTo>
                  <a:cubicBezTo>
                    <a:pt x="1083245" y="667347"/>
                    <a:pt x="1208788" y="411477"/>
                    <a:pt x="1417303" y="234139"/>
                  </a:cubicBezTo>
                  <a:lnTo>
                    <a:pt x="1472342" y="187333"/>
                  </a:lnTo>
                  <a:lnTo>
                    <a:pt x="1442872" y="172324"/>
                  </a:lnTo>
                  <a:cubicBezTo>
                    <a:pt x="1426665" y="164081"/>
                    <a:pt x="1386171" y="148171"/>
                    <a:pt x="1352882" y="136949"/>
                  </a:cubicBezTo>
                  <a:cubicBezTo>
                    <a:pt x="1319598" y="125727"/>
                    <a:pt x="1287294" y="111965"/>
                    <a:pt x="1281099" y="106353"/>
                  </a:cubicBezTo>
                  <a:cubicBezTo>
                    <a:pt x="1255824" y="83494"/>
                    <a:pt x="1276072" y="30869"/>
                    <a:pt x="1310145" y="30869"/>
                  </a:cubicBezTo>
                  <a:cubicBezTo>
                    <a:pt x="1333593" y="30869"/>
                    <a:pt x="1434241" y="66568"/>
                    <a:pt x="1499500" y="98064"/>
                  </a:cubicBezTo>
                  <a:lnTo>
                    <a:pt x="1562177" y="128290"/>
                  </a:lnTo>
                  <a:lnTo>
                    <a:pt x="1625244" y="98226"/>
                  </a:lnTo>
                  <a:cubicBezTo>
                    <a:pt x="1793250" y="18169"/>
                    <a:pt x="1983994" y="-14643"/>
                    <a:pt x="2161346" y="6047"/>
                  </a:cubicBezTo>
                  <a:cubicBezTo>
                    <a:pt x="2475736" y="42715"/>
                    <a:pt x="2749788" y="235155"/>
                    <a:pt x="2888373" y="516563"/>
                  </a:cubicBezTo>
                  <a:cubicBezTo>
                    <a:pt x="2977430" y="697411"/>
                    <a:pt x="2998580" y="837412"/>
                    <a:pt x="2977545" y="1106998"/>
                  </a:cubicBezTo>
                  <a:lnTo>
                    <a:pt x="2966901" y="1243604"/>
                  </a:lnTo>
                  <a:lnTo>
                    <a:pt x="3009917" y="1315786"/>
                  </a:lnTo>
                  <a:cubicBezTo>
                    <a:pt x="3081587" y="1436090"/>
                    <a:pt x="3109711" y="1517393"/>
                    <a:pt x="3122295" y="1640721"/>
                  </a:cubicBezTo>
                  <a:cubicBezTo>
                    <a:pt x="3130330" y="1719508"/>
                    <a:pt x="3127259" y="1736433"/>
                    <a:pt x="3099782" y="1763888"/>
                  </a:cubicBezTo>
                  <a:lnTo>
                    <a:pt x="3079371" y="1784301"/>
                  </a:lnTo>
                  <a:lnTo>
                    <a:pt x="3008624" y="1784301"/>
                  </a:lnTo>
                  <a:cubicBezTo>
                    <a:pt x="2940232" y="1784301"/>
                    <a:pt x="2937785" y="1784763"/>
                    <a:pt x="2934806" y="1798040"/>
                  </a:cubicBezTo>
                  <a:cubicBezTo>
                    <a:pt x="2933121" y="1805590"/>
                    <a:pt x="2917997" y="1892205"/>
                    <a:pt x="2901187" y="1990502"/>
                  </a:cubicBezTo>
                  <a:cubicBezTo>
                    <a:pt x="2868377" y="2182527"/>
                    <a:pt x="2859880" y="2209451"/>
                    <a:pt x="2820604" y="2246442"/>
                  </a:cubicBezTo>
                  <a:cubicBezTo>
                    <a:pt x="2809383" y="2256995"/>
                    <a:pt x="2787817" y="2272073"/>
                    <a:pt x="2772693" y="2279947"/>
                  </a:cubicBezTo>
                  <a:cubicBezTo>
                    <a:pt x="2745632" y="2294032"/>
                    <a:pt x="2741545" y="2294310"/>
                    <a:pt x="2508523" y="2297704"/>
                  </a:cubicBezTo>
                  <a:cubicBezTo>
                    <a:pt x="2282498" y="2301006"/>
                    <a:pt x="2271069" y="2301722"/>
                    <a:pt x="2254998" y="2313660"/>
                  </a:cubicBezTo>
                  <a:cubicBezTo>
                    <a:pt x="2223850" y="2336797"/>
                    <a:pt x="2223088" y="2342200"/>
                    <a:pt x="2222996" y="2537572"/>
                  </a:cubicBezTo>
                  <a:lnTo>
                    <a:pt x="2222903" y="2719598"/>
                  </a:lnTo>
                  <a:lnTo>
                    <a:pt x="2207895" y="2734607"/>
                  </a:lnTo>
                  <a:cubicBezTo>
                    <a:pt x="2187322" y="2755181"/>
                    <a:pt x="2160469" y="2754558"/>
                    <a:pt x="2143613" y="2733106"/>
                  </a:cubicBezTo>
                  <a:close/>
                  <a:moveTo>
                    <a:pt x="1306495" y="2731213"/>
                  </a:moveTo>
                  <a:cubicBezTo>
                    <a:pt x="1294544" y="2719252"/>
                    <a:pt x="1294276" y="2710846"/>
                    <a:pt x="1294276" y="2345918"/>
                  </a:cubicBezTo>
                  <a:cubicBezTo>
                    <a:pt x="1294276" y="2094619"/>
                    <a:pt x="1296391" y="1968889"/>
                    <a:pt x="1300757" y="1960738"/>
                  </a:cubicBezTo>
                  <a:cubicBezTo>
                    <a:pt x="1316440" y="1931436"/>
                    <a:pt x="1364889" y="1934184"/>
                    <a:pt x="1379013" y="1965172"/>
                  </a:cubicBezTo>
                  <a:cubicBezTo>
                    <a:pt x="1383896" y="1975909"/>
                    <a:pt x="1385914" y="2087184"/>
                    <a:pt x="1385914" y="2345779"/>
                  </a:cubicBezTo>
                  <a:cubicBezTo>
                    <a:pt x="1385914" y="2706251"/>
                    <a:pt x="1385741" y="2711447"/>
                    <a:pt x="1373252" y="2727333"/>
                  </a:cubicBezTo>
                  <a:cubicBezTo>
                    <a:pt x="1357387" y="2747515"/>
                    <a:pt x="1324685" y="2749408"/>
                    <a:pt x="1306495" y="2731213"/>
                  </a:cubicBezTo>
                  <a:close/>
                  <a:moveTo>
                    <a:pt x="1752912" y="2727333"/>
                  </a:moveTo>
                  <a:cubicBezTo>
                    <a:pt x="1740374" y="2711401"/>
                    <a:pt x="1740259" y="2706898"/>
                    <a:pt x="1740259" y="2290292"/>
                  </a:cubicBezTo>
                  <a:lnTo>
                    <a:pt x="1740259" y="1869344"/>
                  </a:lnTo>
                  <a:lnTo>
                    <a:pt x="1780573" y="1733616"/>
                  </a:lnTo>
                  <a:cubicBezTo>
                    <a:pt x="1823243" y="1589990"/>
                    <a:pt x="1833518" y="1570386"/>
                    <a:pt x="1866098" y="1570386"/>
                  </a:cubicBezTo>
                  <a:cubicBezTo>
                    <a:pt x="1882491" y="1570386"/>
                    <a:pt x="1911307" y="1594978"/>
                    <a:pt x="1911307" y="1608948"/>
                  </a:cubicBezTo>
                  <a:cubicBezTo>
                    <a:pt x="1911307" y="1613659"/>
                    <a:pt x="1893436" y="1676905"/>
                    <a:pt x="1871593" y="1749456"/>
                  </a:cubicBezTo>
                  <a:lnTo>
                    <a:pt x="1831879" y="1881421"/>
                  </a:lnTo>
                  <a:lnTo>
                    <a:pt x="1831879" y="2300198"/>
                  </a:lnTo>
                  <a:cubicBezTo>
                    <a:pt x="1831879" y="2710823"/>
                    <a:pt x="1831648" y="2719205"/>
                    <a:pt x="1819664" y="2731190"/>
                  </a:cubicBezTo>
                  <a:cubicBezTo>
                    <a:pt x="1801469" y="2749362"/>
                    <a:pt x="1768775" y="2747469"/>
                    <a:pt x="1752912" y="2727310"/>
                  </a:cubicBezTo>
                  <a:close/>
                  <a:moveTo>
                    <a:pt x="958117" y="1987662"/>
                  </a:moveTo>
                  <a:cubicBezTo>
                    <a:pt x="922630" y="1963209"/>
                    <a:pt x="652340" y="1733639"/>
                    <a:pt x="646752" y="1723202"/>
                  </a:cubicBezTo>
                  <a:cubicBezTo>
                    <a:pt x="638816" y="1708378"/>
                    <a:pt x="638841" y="1664551"/>
                    <a:pt x="646796" y="1649681"/>
                  </a:cubicBezTo>
                  <a:cubicBezTo>
                    <a:pt x="653425" y="1637304"/>
                    <a:pt x="941144" y="1393441"/>
                    <a:pt x="962825" y="1381849"/>
                  </a:cubicBezTo>
                  <a:cubicBezTo>
                    <a:pt x="984257" y="1370396"/>
                    <a:pt x="1021976" y="1373444"/>
                    <a:pt x="1040681" y="1388153"/>
                  </a:cubicBezTo>
                  <a:cubicBezTo>
                    <a:pt x="1064519" y="1406903"/>
                    <a:pt x="1074365" y="1435120"/>
                    <a:pt x="1074365" y="1484673"/>
                  </a:cubicBezTo>
                  <a:lnTo>
                    <a:pt x="1074365" y="1527645"/>
                  </a:lnTo>
                  <a:lnTo>
                    <a:pt x="1274440" y="1527737"/>
                  </a:lnTo>
                  <a:cubicBezTo>
                    <a:pt x="1493240" y="1527830"/>
                    <a:pt x="1494538" y="1528015"/>
                    <a:pt x="1518613" y="1563760"/>
                  </a:cubicBezTo>
                  <a:cubicBezTo>
                    <a:pt x="1531728" y="1583225"/>
                    <a:pt x="1532539" y="1590383"/>
                    <a:pt x="1532539" y="1686487"/>
                  </a:cubicBezTo>
                  <a:cubicBezTo>
                    <a:pt x="1532539" y="1782592"/>
                    <a:pt x="1531728" y="1789750"/>
                    <a:pt x="1518611" y="1809216"/>
                  </a:cubicBezTo>
                  <a:cubicBezTo>
                    <a:pt x="1494526" y="1844960"/>
                    <a:pt x="1493229" y="1845145"/>
                    <a:pt x="1274437" y="1845237"/>
                  </a:cubicBezTo>
                  <a:lnTo>
                    <a:pt x="1074362" y="1845330"/>
                  </a:lnTo>
                  <a:lnTo>
                    <a:pt x="1074362" y="1888302"/>
                  </a:lnTo>
                  <a:cubicBezTo>
                    <a:pt x="1074362" y="1937855"/>
                    <a:pt x="1064514" y="1966072"/>
                    <a:pt x="1040679" y="1984822"/>
                  </a:cubicBezTo>
                  <a:cubicBezTo>
                    <a:pt x="1019979" y="2001101"/>
                    <a:pt x="979653" y="2002510"/>
                    <a:pt x="958122" y="1987662"/>
                  </a:cubicBezTo>
                  <a:close/>
                  <a:moveTo>
                    <a:pt x="1000198" y="1765343"/>
                  </a:moveTo>
                  <a:cubicBezTo>
                    <a:pt x="1013773" y="1754375"/>
                    <a:pt x="1027151" y="1753682"/>
                    <a:pt x="1227764" y="1753682"/>
                  </a:cubicBezTo>
                  <a:lnTo>
                    <a:pt x="1440907" y="1753682"/>
                  </a:lnTo>
                  <a:lnTo>
                    <a:pt x="1440907" y="1619709"/>
                  </a:lnTo>
                  <a:lnTo>
                    <a:pt x="1224242" y="1617977"/>
                  </a:lnTo>
                  <a:cubicBezTo>
                    <a:pt x="1025994" y="1616361"/>
                    <a:pt x="1006652" y="1615298"/>
                    <a:pt x="996677" y="1605346"/>
                  </a:cubicBezTo>
                  <a:cubicBezTo>
                    <a:pt x="988374" y="1597057"/>
                    <a:pt x="985047" y="1581193"/>
                    <a:pt x="982719" y="1538821"/>
                  </a:cubicBezTo>
                  <a:lnTo>
                    <a:pt x="979664" y="1483195"/>
                  </a:lnTo>
                  <a:lnTo>
                    <a:pt x="859395" y="1583294"/>
                  </a:lnTo>
                  <a:cubicBezTo>
                    <a:pt x="793247" y="1638366"/>
                    <a:pt x="739139" y="1684802"/>
                    <a:pt x="739152" y="1686464"/>
                  </a:cubicBezTo>
                  <a:cubicBezTo>
                    <a:pt x="739171" y="1688150"/>
                    <a:pt x="793289" y="1734540"/>
                    <a:pt x="859422" y="1789565"/>
                  </a:cubicBezTo>
                  <a:lnTo>
                    <a:pt x="979664" y="1889618"/>
                  </a:lnTo>
                  <a:lnTo>
                    <a:pt x="982719" y="1833299"/>
                  </a:lnTo>
                  <a:cubicBezTo>
                    <a:pt x="985423" y="1783469"/>
                    <a:pt x="987430" y="1775664"/>
                    <a:pt x="1000196" y="1765343"/>
                  </a:cubicBezTo>
                  <a:close/>
                  <a:moveTo>
                    <a:pt x="1887340" y="1456548"/>
                  </a:moveTo>
                  <a:cubicBezTo>
                    <a:pt x="1880367" y="1447681"/>
                    <a:pt x="1874664" y="1436528"/>
                    <a:pt x="1874664" y="1431749"/>
                  </a:cubicBezTo>
                  <a:cubicBezTo>
                    <a:pt x="1874664" y="1426969"/>
                    <a:pt x="1888172" y="1378270"/>
                    <a:pt x="1904681" y="1323545"/>
                  </a:cubicBezTo>
                  <a:cubicBezTo>
                    <a:pt x="1921190" y="1268819"/>
                    <a:pt x="1940562" y="1196868"/>
                    <a:pt x="1947766" y="1163640"/>
                  </a:cubicBezTo>
                  <a:cubicBezTo>
                    <a:pt x="1962567" y="1095383"/>
                    <a:pt x="1971456" y="1081644"/>
                    <a:pt x="2000849" y="1081644"/>
                  </a:cubicBezTo>
                  <a:cubicBezTo>
                    <a:pt x="2027310" y="1081644"/>
                    <a:pt x="2045736" y="1099863"/>
                    <a:pt x="2045667" y="1125932"/>
                  </a:cubicBezTo>
                  <a:cubicBezTo>
                    <a:pt x="2045528" y="1175924"/>
                    <a:pt x="1971318" y="1438006"/>
                    <a:pt x="1950906" y="1460566"/>
                  </a:cubicBezTo>
                  <a:cubicBezTo>
                    <a:pt x="1934628" y="1478577"/>
                    <a:pt x="1903087" y="1476568"/>
                    <a:pt x="1887340" y="1456548"/>
                  </a:cubicBezTo>
                  <a:close/>
                  <a:moveTo>
                    <a:pt x="2260101" y="1134753"/>
                  </a:moveTo>
                  <a:cubicBezTo>
                    <a:pt x="2225582" y="1122654"/>
                    <a:pt x="2214175" y="1100763"/>
                    <a:pt x="2210666" y="1039988"/>
                  </a:cubicBezTo>
                  <a:lnTo>
                    <a:pt x="2207618" y="986948"/>
                  </a:lnTo>
                  <a:lnTo>
                    <a:pt x="1999302" y="983877"/>
                  </a:lnTo>
                  <a:cubicBezTo>
                    <a:pt x="1774339" y="980575"/>
                    <a:pt x="1779303" y="981361"/>
                    <a:pt x="1761247" y="946447"/>
                  </a:cubicBezTo>
                  <a:cubicBezTo>
                    <a:pt x="1754620" y="933632"/>
                    <a:pt x="1752496" y="903567"/>
                    <a:pt x="1752496" y="823118"/>
                  </a:cubicBezTo>
                  <a:cubicBezTo>
                    <a:pt x="1752496" y="724474"/>
                    <a:pt x="1753420" y="715538"/>
                    <a:pt x="1765242" y="700506"/>
                  </a:cubicBezTo>
                  <a:cubicBezTo>
                    <a:pt x="1791749" y="666816"/>
                    <a:pt x="1796182" y="666193"/>
                    <a:pt x="2011817" y="666193"/>
                  </a:cubicBezTo>
                  <a:lnTo>
                    <a:pt x="2210666" y="666193"/>
                  </a:lnTo>
                  <a:lnTo>
                    <a:pt x="2210666" y="614469"/>
                  </a:lnTo>
                  <a:cubicBezTo>
                    <a:pt x="2210666" y="565447"/>
                    <a:pt x="2211659" y="561637"/>
                    <a:pt x="2229461" y="541340"/>
                  </a:cubicBezTo>
                  <a:cubicBezTo>
                    <a:pt x="2249410" y="518642"/>
                    <a:pt x="2278042" y="509105"/>
                    <a:pt x="2305588" y="516009"/>
                  </a:cubicBezTo>
                  <a:cubicBezTo>
                    <a:pt x="2319973" y="519635"/>
                    <a:pt x="2593309" y="743616"/>
                    <a:pt x="2624826" y="777629"/>
                  </a:cubicBezTo>
                  <a:cubicBezTo>
                    <a:pt x="2642375" y="796587"/>
                    <a:pt x="2648378" y="831270"/>
                    <a:pt x="2638334" y="855561"/>
                  </a:cubicBezTo>
                  <a:cubicBezTo>
                    <a:pt x="2629814" y="876135"/>
                    <a:pt x="2362204" y="1105567"/>
                    <a:pt x="2319395" y="1128981"/>
                  </a:cubicBezTo>
                  <a:cubicBezTo>
                    <a:pt x="2290926" y="1144567"/>
                    <a:pt x="2288732" y="1144775"/>
                    <a:pt x="2260124" y="1134753"/>
                  </a:cubicBezTo>
                  <a:close/>
                  <a:moveTo>
                    <a:pt x="2429002" y="924210"/>
                  </a:moveTo>
                  <a:cubicBezTo>
                    <a:pt x="2490698" y="872394"/>
                    <a:pt x="2540364" y="827829"/>
                    <a:pt x="2539348" y="825151"/>
                  </a:cubicBezTo>
                  <a:cubicBezTo>
                    <a:pt x="2538332" y="822495"/>
                    <a:pt x="2484857" y="776082"/>
                    <a:pt x="2420505" y="722049"/>
                  </a:cubicBezTo>
                  <a:lnTo>
                    <a:pt x="2303510" y="623821"/>
                  </a:lnTo>
                  <a:lnTo>
                    <a:pt x="2301385" y="679146"/>
                  </a:lnTo>
                  <a:cubicBezTo>
                    <a:pt x="2298130" y="763405"/>
                    <a:pt x="2315401" y="757840"/>
                    <a:pt x="2057258" y="757840"/>
                  </a:cubicBezTo>
                  <a:lnTo>
                    <a:pt x="1844116" y="757840"/>
                  </a:lnTo>
                  <a:lnTo>
                    <a:pt x="1844116" y="898349"/>
                  </a:lnTo>
                  <a:lnTo>
                    <a:pt x="2276980" y="898349"/>
                  </a:lnTo>
                  <a:lnTo>
                    <a:pt x="2289633" y="914443"/>
                  </a:lnTo>
                  <a:cubicBezTo>
                    <a:pt x="2300023" y="927651"/>
                    <a:pt x="2302286" y="939243"/>
                    <a:pt x="2302286" y="978959"/>
                  </a:cubicBezTo>
                  <a:cubicBezTo>
                    <a:pt x="2302286" y="1014727"/>
                    <a:pt x="2304179" y="1026203"/>
                    <a:pt x="2309536" y="1022901"/>
                  </a:cubicBezTo>
                  <a:cubicBezTo>
                    <a:pt x="2313531" y="1020430"/>
                    <a:pt x="2367284" y="976027"/>
                    <a:pt x="2428979" y="924210"/>
                  </a:cubicBezTo>
                  <a:close/>
                </a:path>
              </a:pathLst>
            </a:custGeom>
            <a:solidFill>
              <a:srgbClr val="03556D"/>
            </a:solidFill>
            <a:ln w="6108" cap="flat">
              <a:noFill/>
              <a:prstDash val="solid"/>
              <a:miter/>
            </a:ln>
          </p:spPr>
          <p:txBody>
            <a:bodyPr rtlCol="0" anchor="ctr"/>
            <a:lstStyle/>
            <a:p>
              <a:endParaRPr lang="en-US" dirty="0"/>
            </a:p>
          </p:txBody>
        </p:sp>
      </p:grpSp>
      <p:grpSp>
        <p:nvGrpSpPr>
          <p:cNvPr id="59" name="Group 58">
            <a:extLst>
              <a:ext uri="{FF2B5EF4-FFF2-40B4-BE49-F238E27FC236}">
                <a16:creationId xmlns:a16="http://schemas.microsoft.com/office/drawing/2014/main" id="{B3ECBD7A-F1A4-4260-87BA-8B81632B797E}"/>
              </a:ext>
            </a:extLst>
          </p:cNvPr>
          <p:cNvGrpSpPr/>
          <p:nvPr/>
        </p:nvGrpSpPr>
        <p:grpSpPr>
          <a:xfrm>
            <a:off x="4455577" y="2646282"/>
            <a:ext cx="1005840" cy="1005840"/>
            <a:chOff x="4358785" y="2357201"/>
            <a:chExt cx="1005840" cy="1005840"/>
          </a:xfrm>
        </p:grpSpPr>
        <p:sp>
          <p:nvSpPr>
            <p:cNvPr id="60" name="Oval 59">
              <a:extLst>
                <a:ext uri="{FF2B5EF4-FFF2-40B4-BE49-F238E27FC236}">
                  <a16:creationId xmlns:a16="http://schemas.microsoft.com/office/drawing/2014/main" id="{DA30CD94-65AD-471D-9188-3E8B3CDDF7AA}"/>
                </a:ext>
              </a:extLst>
            </p:cNvPr>
            <p:cNvSpPr/>
            <p:nvPr/>
          </p:nvSpPr>
          <p:spPr bwMode="auto">
            <a:xfrm>
              <a:off x="4358785" y="2357201"/>
              <a:ext cx="1005840" cy="1005840"/>
            </a:xfrm>
            <a:prstGeom prst="ellipse">
              <a:avLst/>
            </a:prstGeom>
            <a:solidFill>
              <a:srgbClr val="F2F2F2"/>
            </a:solidFill>
            <a:ln w="76200">
              <a:solidFill>
                <a:srgbClr val="07AADB"/>
              </a:solidFill>
              <a:round/>
              <a:headEnd/>
              <a:tailEnd/>
            </a:ln>
          </p:spPr>
          <p:txBody>
            <a:bodyPr wrap="square" lIns="0" tIns="0" rIns="0" bIns="0" rtlCol="0" anchor="ctr">
              <a:noAutofit/>
            </a:bodyPr>
            <a:lstStyle/>
            <a:p>
              <a:pPr algn="l"/>
              <a:endParaRPr lang="en-US" dirty="0">
                <a:solidFill>
                  <a:schemeClr val="tx2"/>
                </a:solidFill>
              </a:endParaRPr>
            </a:p>
          </p:txBody>
        </p:sp>
        <p:sp>
          <p:nvSpPr>
            <p:cNvPr id="61" name="Graphic 8">
              <a:extLst>
                <a:ext uri="{FF2B5EF4-FFF2-40B4-BE49-F238E27FC236}">
                  <a16:creationId xmlns:a16="http://schemas.microsoft.com/office/drawing/2014/main" id="{056CBD14-0050-413E-A045-E569F6431614}"/>
                </a:ext>
              </a:extLst>
            </p:cNvPr>
            <p:cNvSpPr/>
            <p:nvPr/>
          </p:nvSpPr>
          <p:spPr>
            <a:xfrm>
              <a:off x="4633105" y="2631521"/>
              <a:ext cx="457200" cy="457200"/>
            </a:xfrm>
            <a:custGeom>
              <a:avLst/>
              <a:gdLst>
                <a:gd name="connsiteX0" fmla="*/ 2098492 w 3027807"/>
                <a:gd name="connsiteY0" fmla="*/ 2727422 h 3027049"/>
                <a:gd name="connsiteX1" fmla="*/ 2062680 w 3027807"/>
                <a:gd name="connsiteY1" fmla="*/ 2382975 h 3027049"/>
                <a:gd name="connsiteX2" fmla="*/ 1942128 w 3027807"/>
                <a:gd name="connsiteY2" fmla="*/ 2355220 h 3027049"/>
                <a:gd name="connsiteX3" fmla="*/ 1798889 w 3027807"/>
                <a:gd name="connsiteY3" fmla="*/ 2324532 h 3027049"/>
                <a:gd name="connsiteX4" fmla="*/ 1577920 w 3027807"/>
                <a:gd name="connsiteY4" fmla="*/ 2105007 h 3027049"/>
                <a:gd name="connsiteX5" fmla="*/ 1562279 w 3027807"/>
                <a:gd name="connsiteY5" fmla="*/ 1910997 h 3027049"/>
                <a:gd name="connsiteX6" fmla="*/ 1559968 w 3027807"/>
                <a:gd name="connsiteY6" fmla="*/ 1757142 h 3027049"/>
                <a:gd name="connsiteX7" fmla="*/ 1209604 w 3027807"/>
                <a:gd name="connsiteY7" fmla="*/ 1753263 h 3027049"/>
                <a:gd name="connsiteX8" fmla="*/ 1169895 w 3027807"/>
                <a:gd name="connsiteY8" fmla="*/ 1734259 h 3027049"/>
                <a:gd name="connsiteX9" fmla="*/ 1049375 w 3027807"/>
                <a:gd name="connsiteY9" fmla="*/ 1617234 h 3027049"/>
                <a:gd name="connsiteX10" fmla="*/ 1026329 w 3027807"/>
                <a:gd name="connsiteY10" fmla="*/ 1511940 h 3027049"/>
                <a:gd name="connsiteX11" fmla="*/ 1049375 w 3027807"/>
                <a:gd name="connsiteY11" fmla="*/ 1406622 h 3027049"/>
                <a:gd name="connsiteX12" fmla="*/ 1169895 w 3027807"/>
                <a:gd name="connsiteY12" fmla="*/ 1289620 h 3027049"/>
                <a:gd name="connsiteX13" fmla="*/ 1209604 w 3027807"/>
                <a:gd name="connsiteY13" fmla="*/ 1270617 h 3027049"/>
                <a:gd name="connsiteX14" fmla="*/ 1551725 w 3027807"/>
                <a:gd name="connsiteY14" fmla="*/ 1267545 h 3027049"/>
                <a:gd name="connsiteX15" fmla="*/ 1915229 w 3027807"/>
                <a:gd name="connsiteY15" fmla="*/ 1254753 h 3027049"/>
                <a:gd name="connsiteX16" fmla="*/ 1990063 w 3027807"/>
                <a:gd name="connsiteY16" fmla="*/ 1177119 h 3027049"/>
                <a:gd name="connsiteX17" fmla="*/ 2000499 w 3027807"/>
                <a:gd name="connsiteY17" fmla="*/ 1013675 h 3027049"/>
                <a:gd name="connsiteX18" fmla="*/ 2003801 w 3027807"/>
                <a:gd name="connsiteY18" fmla="*/ 866713 h 3027049"/>
                <a:gd name="connsiteX19" fmla="*/ 2026637 w 3027807"/>
                <a:gd name="connsiteY19" fmla="*/ 820563 h 3027049"/>
                <a:gd name="connsiteX20" fmla="*/ 2146288 w 3027807"/>
                <a:gd name="connsiteY20" fmla="*/ 703432 h 3027049"/>
                <a:gd name="connsiteX21" fmla="*/ 2187087 w 3027807"/>
                <a:gd name="connsiteY21" fmla="*/ 684101 h 3027049"/>
                <a:gd name="connsiteX22" fmla="*/ 2504756 w 3027807"/>
                <a:gd name="connsiteY22" fmla="*/ 681046 h 3027049"/>
                <a:gd name="connsiteX23" fmla="*/ 2891763 w 3027807"/>
                <a:gd name="connsiteY23" fmla="*/ 628703 h 3027049"/>
                <a:gd name="connsiteX24" fmla="*/ 2921895 w 3027807"/>
                <a:gd name="connsiteY24" fmla="*/ 489306 h 3027049"/>
                <a:gd name="connsiteX25" fmla="*/ 2827827 w 3027807"/>
                <a:gd name="connsiteY25" fmla="*/ 395219 h 3027049"/>
                <a:gd name="connsiteX26" fmla="*/ 2133381 w 3027807"/>
                <a:gd name="connsiteY26" fmla="*/ 387789 h 3027049"/>
                <a:gd name="connsiteX27" fmla="*/ 1464072 w 3027807"/>
                <a:gd name="connsiteY27" fmla="*/ 387789 h 3027049"/>
                <a:gd name="connsiteX28" fmla="*/ 1461756 w 3027807"/>
                <a:gd name="connsiteY28" fmla="*/ 542052 h 3027049"/>
                <a:gd name="connsiteX29" fmla="*/ 1446110 w 3027807"/>
                <a:gd name="connsiteY29" fmla="*/ 736468 h 3027049"/>
                <a:gd name="connsiteX30" fmla="*/ 1225141 w 3027807"/>
                <a:gd name="connsiteY30" fmla="*/ 956017 h 3027049"/>
                <a:gd name="connsiteX31" fmla="*/ 1081897 w 3027807"/>
                <a:gd name="connsiteY31" fmla="*/ 986688 h 3027049"/>
                <a:gd name="connsiteX32" fmla="*/ 936411 w 3027807"/>
                <a:gd name="connsiteY32" fmla="*/ 1036983 h 3027049"/>
                <a:gd name="connsiteX33" fmla="*/ 925540 w 3027807"/>
                <a:gd name="connsiteY33" fmla="*/ 1719642 h 3027049"/>
                <a:gd name="connsiteX34" fmla="*/ 922486 w 3027807"/>
                <a:gd name="connsiteY34" fmla="*/ 2388632 h 3027049"/>
                <a:gd name="connsiteX35" fmla="*/ 906480 w 3027807"/>
                <a:gd name="connsiteY35" fmla="*/ 2422761 h 3027049"/>
                <a:gd name="connsiteX36" fmla="*/ 809992 w 3027807"/>
                <a:gd name="connsiteY36" fmla="*/ 2519211 h 3027049"/>
                <a:gd name="connsiteX37" fmla="*/ 603279 w 3027807"/>
                <a:gd name="connsiteY37" fmla="*/ 2487923 h 3027049"/>
                <a:gd name="connsiteX38" fmla="*/ 583424 w 3027807"/>
                <a:gd name="connsiteY38" fmla="*/ 2468711 h 3027049"/>
                <a:gd name="connsiteX39" fmla="*/ 563570 w 3027807"/>
                <a:gd name="connsiteY39" fmla="*/ 2487923 h 3027049"/>
                <a:gd name="connsiteX40" fmla="*/ 300347 w 3027807"/>
                <a:gd name="connsiteY40" fmla="*/ 2480857 h 3027049"/>
                <a:gd name="connsiteX41" fmla="*/ 261166 w 3027807"/>
                <a:gd name="connsiteY41" fmla="*/ 2426617 h 3027049"/>
                <a:gd name="connsiteX42" fmla="*/ 244366 w 3027807"/>
                <a:gd name="connsiteY42" fmla="*/ 2394751 h 3027049"/>
                <a:gd name="connsiteX43" fmla="*/ 240863 w 3027807"/>
                <a:gd name="connsiteY43" fmla="*/ 1660114 h 3027049"/>
                <a:gd name="connsiteX44" fmla="*/ 193621 w 3027807"/>
                <a:gd name="connsiteY44" fmla="*/ 1657366 h 3027049"/>
                <a:gd name="connsiteX45" fmla="*/ 16800 w 3027807"/>
                <a:gd name="connsiteY45" fmla="*/ 1546853 h 3027049"/>
                <a:gd name="connsiteX46" fmla="*/ 0 w 3027807"/>
                <a:gd name="connsiteY46" fmla="*/ 1514988 h 3027049"/>
                <a:gd name="connsiteX47" fmla="*/ 0 w 3027807"/>
                <a:gd name="connsiteY47" fmla="*/ 1276713 h 3027049"/>
                <a:gd name="connsiteX48" fmla="*/ 11543 w 3027807"/>
                <a:gd name="connsiteY48" fmla="*/ 995835 h 3027049"/>
                <a:gd name="connsiteX49" fmla="*/ 347775 w 3027807"/>
                <a:gd name="connsiteY49" fmla="*/ 617306 h 3027049"/>
                <a:gd name="connsiteX50" fmla="*/ 371754 w 3027807"/>
                <a:gd name="connsiteY50" fmla="*/ 607450 h 3027049"/>
                <a:gd name="connsiteX51" fmla="*/ 345351 w 3027807"/>
                <a:gd name="connsiteY51" fmla="*/ 581619 h 3027049"/>
                <a:gd name="connsiteX52" fmla="*/ 258587 w 3027807"/>
                <a:gd name="connsiteY52" fmla="*/ 443927 h 3027049"/>
                <a:gd name="connsiteX53" fmla="*/ 244550 w 3027807"/>
                <a:gd name="connsiteY53" fmla="*/ 338905 h 3027049"/>
                <a:gd name="connsiteX54" fmla="*/ 258587 w 3027807"/>
                <a:gd name="connsiteY54" fmla="*/ 233879 h 3027049"/>
                <a:gd name="connsiteX55" fmla="*/ 478417 w 3027807"/>
                <a:gd name="connsiteY55" fmla="*/ 14039 h 3027049"/>
                <a:gd name="connsiteX56" fmla="*/ 583436 w 3027807"/>
                <a:gd name="connsiteY56" fmla="*/ 0 h 3027049"/>
                <a:gd name="connsiteX57" fmla="*/ 756025 w 3027807"/>
                <a:gd name="connsiteY57" fmla="*/ 44168 h 3027049"/>
                <a:gd name="connsiteX58" fmla="*/ 864685 w 3027807"/>
                <a:gd name="connsiteY58" fmla="*/ 146824 h 3027049"/>
                <a:gd name="connsiteX59" fmla="*/ 991256 w 3027807"/>
                <a:gd name="connsiteY59" fmla="*/ 194823 h 3027049"/>
                <a:gd name="connsiteX60" fmla="*/ 1114932 w 3027807"/>
                <a:gd name="connsiteY60" fmla="*/ 226032 h 3027049"/>
                <a:gd name="connsiteX61" fmla="*/ 1135766 w 3027807"/>
                <a:gd name="connsiteY61" fmla="*/ 200448 h 3027049"/>
                <a:gd name="connsiteX62" fmla="*/ 1215185 w 3027807"/>
                <a:gd name="connsiteY62" fmla="*/ 114138 h 3027049"/>
                <a:gd name="connsiteX63" fmla="*/ 1368464 w 3027807"/>
                <a:gd name="connsiteY63" fmla="*/ 113954 h 3027049"/>
                <a:gd name="connsiteX64" fmla="*/ 1461617 w 3027807"/>
                <a:gd name="connsiteY64" fmla="*/ 254319 h 3027049"/>
                <a:gd name="connsiteX65" fmla="*/ 1464831 w 3027807"/>
                <a:gd name="connsiteY65" fmla="*/ 289763 h 3027049"/>
                <a:gd name="connsiteX66" fmla="*/ 2841427 w 3027807"/>
                <a:gd name="connsiteY66" fmla="*/ 293070 h 3027049"/>
                <a:gd name="connsiteX67" fmla="*/ 2888045 w 3027807"/>
                <a:gd name="connsiteY67" fmla="*/ 316117 h 3027049"/>
                <a:gd name="connsiteX68" fmla="*/ 3005041 w 3027807"/>
                <a:gd name="connsiteY68" fmla="*/ 436642 h 3027049"/>
                <a:gd name="connsiteX69" fmla="*/ 3024044 w 3027807"/>
                <a:gd name="connsiteY69" fmla="*/ 534393 h 3027049"/>
                <a:gd name="connsiteX70" fmla="*/ 3005041 w 3027807"/>
                <a:gd name="connsiteY70" fmla="*/ 632144 h 3027049"/>
                <a:gd name="connsiteX71" fmla="*/ 2888045 w 3027807"/>
                <a:gd name="connsiteY71" fmla="*/ 752669 h 3027049"/>
                <a:gd name="connsiteX72" fmla="*/ 2841451 w 3027807"/>
                <a:gd name="connsiteY72" fmla="*/ 775716 h 3027049"/>
                <a:gd name="connsiteX73" fmla="*/ 2523435 w 3027807"/>
                <a:gd name="connsiteY73" fmla="*/ 778771 h 3027049"/>
                <a:gd name="connsiteX74" fmla="*/ 2140007 w 3027807"/>
                <a:gd name="connsiteY74" fmla="*/ 825408 h 3027049"/>
                <a:gd name="connsiteX75" fmla="*/ 2098423 w 3027807"/>
                <a:gd name="connsiteY75" fmla="*/ 1025444 h 3027049"/>
                <a:gd name="connsiteX76" fmla="*/ 2090203 w 3027807"/>
                <a:gd name="connsiteY76" fmla="*/ 1178941 h 3027049"/>
                <a:gd name="connsiteX77" fmla="*/ 1959446 w 3027807"/>
                <a:gd name="connsiteY77" fmla="*/ 1339173 h 3027049"/>
                <a:gd name="connsiteX78" fmla="*/ 1912827 w 3027807"/>
                <a:gd name="connsiteY78" fmla="*/ 1362218 h 3027049"/>
                <a:gd name="connsiteX79" fmla="*/ 1570393 w 3027807"/>
                <a:gd name="connsiteY79" fmla="*/ 1365289 h 3027049"/>
                <a:gd name="connsiteX80" fmla="*/ 1162536 w 3027807"/>
                <a:gd name="connsiteY80" fmla="*/ 1411910 h 3027049"/>
                <a:gd name="connsiteX81" fmla="*/ 1128467 w 3027807"/>
                <a:gd name="connsiteY81" fmla="*/ 1557013 h 3027049"/>
                <a:gd name="connsiteX82" fmla="*/ 1222548 w 3027807"/>
                <a:gd name="connsiteY82" fmla="*/ 1651109 h 3027049"/>
                <a:gd name="connsiteX83" fmla="*/ 1403447 w 3027807"/>
                <a:gd name="connsiteY83" fmla="*/ 1658544 h 3027049"/>
                <a:gd name="connsiteX84" fmla="*/ 1559201 w 3027807"/>
                <a:gd name="connsiteY84" fmla="*/ 1658544 h 3027049"/>
                <a:gd name="connsiteX85" fmla="*/ 1562422 w 3027807"/>
                <a:gd name="connsiteY85" fmla="*/ 1623030 h 3027049"/>
                <a:gd name="connsiteX86" fmla="*/ 1658646 w 3027807"/>
                <a:gd name="connsiteY86" fmla="*/ 1480652 h 3027049"/>
                <a:gd name="connsiteX87" fmla="*/ 1808871 w 3027807"/>
                <a:gd name="connsiteY87" fmla="*/ 1482660 h 3027049"/>
                <a:gd name="connsiteX88" fmla="*/ 1888283 w 3027807"/>
                <a:gd name="connsiteY88" fmla="*/ 1568951 h 3027049"/>
                <a:gd name="connsiteX89" fmla="*/ 1909133 w 3027807"/>
                <a:gd name="connsiteY89" fmla="*/ 1594536 h 3027049"/>
                <a:gd name="connsiteX90" fmla="*/ 2032455 w 3027807"/>
                <a:gd name="connsiteY90" fmla="*/ 1563409 h 3027049"/>
                <a:gd name="connsiteX91" fmla="*/ 2161527 w 3027807"/>
                <a:gd name="connsiteY91" fmla="*/ 1512771 h 3027049"/>
                <a:gd name="connsiteX92" fmla="*/ 2335601 w 3027807"/>
                <a:gd name="connsiteY92" fmla="*/ 1382538 h 3027049"/>
                <a:gd name="connsiteX93" fmla="*/ 2545648 w 3027807"/>
                <a:gd name="connsiteY93" fmla="*/ 1382538 h 3027049"/>
                <a:gd name="connsiteX94" fmla="*/ 2766155 w 3027807"/>
                <a:gd name="connsiteY94" fmla="*/ 1606358 h 3027049"/>
                <a:gd name="connsiteX95" fmla="*/ 2765393 w 3027807"/>
                <a:gd name="connsiteY95" fmla="*/ 1812445 h 3027049"/>
                <a:gd name="connsiteX96" fmla="*/ 2678991 w 3027807"/>
                <a:gd name="connsiteY96" fmla="*/ 1950413 h 3027049"/>
                <a:gd name="connsiteX97" fmla="*/ 2655093 w 3027807"/>
                <a:gd name="connsiteY97" fmla="*/ 1978353 h 3027049"/>
                <a:gd name="connsiteX98" fmla="*/ 2688042 w 3027807"/>
                <a:gd name="connsiteY98" fmla="*/ 1991284 h 3027049"/>
                <a:gd name="connsiteX99" fmla="*/ 2981605 w 3027807"/>
                <a:gd name="connsiteY99" fmla="*/ 2275903 h 3027049"/>
                <a:gd name="connsiteX100" fmla="*/ 3025637 w 3027807"/>
                <a:gd name="connsiteY100" fmla="*/ 2713937 h 3027049"/>
                <a:gd name="connsiteX101" fmla="*/ 3027808 w 3027807"/>
                <a:gd name="connsiteY101" fmla="*/ 3027050 h 3027049"/>
                <a:gd name="connsiteX102" fmla="*/ 2098515 w 3027807"/>
                <a:gd name="connsiteY102" fmla="*/ 3027050 h 3027049"/>
                <a:gd name="connsiteX103" fmla="*/ 2684971 w 3027807"/>
                <a:gd name="connsiteY103" fmla="*/ 2611644 h 3027049"/>
                <a:gd name="connsiteX104" fmla="*/ 2684971 w 3027807"/>
                <a:gd name="connsiteY104" fmla="*/ 2293960 h 3027049"/>
                <a:gd name="connsiteX105" fmla="*/ 2782710 w 3027807"/>
                <a:gd name="connsiteY105" fmla="*/ 2293960 h 3027049"/>
                <a:gd name="connsiteX106" fmla="*/ 2782710 w 3027807"/>
                <a:gd name="connsiteY106" fmla="*/ 2929352 h 3027049"/>
                <a:gd name="connsiteX107" fmla="*/ 2930046 w 3027807"/>
                <a:gd name="connsiteY107" fmla="*/ 2929352 h 3027049"/>
                <a:gd name="connsiteX108" fmla="*/ 2928037 w 3027807"/>
                <a:gd name="connsiteY108" fmla="*/ 2668171 h 3027049"/>
                <a:gd name="connsiteX109" fmla="*/ 2926028 w 3027807"/>
                <a:gd name="connsiteY109" fmla="*/ 2406990 h 3027049"/>
                <a:gd name="connsiteX110" fmla="*/ 2910166 w 3027807"/>
                <a:gd name="connsiteY110" fmla="*/ 2360161 h 3027049"/>
                <a:gd name="connsiteX111" fmla="*/ 2798527 w 3027807"/>
                <a:gd name="connsiteY111" fmla="*/ 2180399 h 3027049"/>
                <a:gd name="connsiteX112" fmla="*/ 2618796 w 3027807"/>
                <a:gd name="connsiteY112" fmla="*/ 2068800 h 3027049"/>
                <a:gd name="connsiteX113" fmla="*/ 2571947 w 3027807"/>
                <a:gd name="connsiteY113" fmla="*/ 2052960 h 3027049"/>
                <a:gd name="connsiteX114" fmla="*/ 2251207 w 3027807"/>
                <a:gd name="connsiteY114" fmla="*/ 2049750 h 3027049"/>
                <a:gd name="connsiteX115" fmla="*/ 1905323 w 3027807"/>
                <a:gd name="connsiteY115" fmla="*/ 2033078 h 3027049"/>
                <a:gd name="connsiteX116" fmla="*/ 1824805 w 3027807"/>
                <a:gd name="connsiteY116" fmla="*/ 1955631 h 3027049"/>
                <a:gd name="connsiteX117" fmla="*/ 1805250 w 3027807"/>
                <a:gd name="connsiteY117" fmla="*/ 1764069 h 3027049"/>
                <a:gd name="connsiteX118" fmla="*/ 1802181 w 3027807"/>
                <a:gd name="connsiteY118" fmla="*/ 1603795 h 3027049"/>
                <a:gd name="connsiteX119" fmla="*/ 1782209 w 3027807"/>
                <a:gd name="connsiteY119" fmla="*/ 1583845 h 3027049"/>
                <a:gd name="connsiteX120" fmla="*/ 1731926 w 3027807"/>
                <a:gd name="connsiteY120" fmla="*/ 1563894 h 3027049"/>
                <a:gd name="connsiteX121" fmla="*/ 1681644 w 3027807"/>
                <a:gd name="connsiteY121" fmla="*/ 1583868 h 3027049"/>
                <a:gd name="connsiteX122" fmla="*/ 1661671 w 3027807"/>
                <a:gd name="connsiteY122" fmla="*/ 1603842 h 3027049"/>
                <a:gd name="connsiteX123" fmla="*/ 1661671 w 3027807"/>
                <a:gd name="connsiteY123" fmla="*/ 2058755 h 3027049"/>
                <a:gd name="connsiteX124" fmla="*/ 1681004 w 3027807"/>
                <a:gd name="connsiteY124" fmla="*/ 2099557 h 3027049"/>
                <a:gd name="connsiteX125" fmla="*/ 1787180 w 3027807"/>
                <a:gd name="connsiteY125" fmla="*/ 2214203 h 3027049"/>
                <a:gd name="connsiteX126" fmla="*/ 1952865 w 3027807"/>
                <a:gd name="connsiteY126" fmla="*/ 2258076 h 3027049"/>
                <a:gd name="connsiteX127" fmla="*/ 2104565 w 3027807"/>
                <a:gd name="connsiteY127" fmla="*/ 2293960 h 3027049"/>
                <a:gd name="connsiteX128" fmla="*/ 2187087 w 3027807"/>
                <a:gd name="connsiteY128" fmla="*/ 2393735 h 3027049"/>
                <a:gd name="connsiteX129" fmla="*/ 2196231 w 3027807"/>
                <a:gd name="connsiteY129" fmla="*/ 2676922 h 3027049"/>
                <a:gd name="connsiteX130" fmla="*/ 2196231 w 3027807"/>
                <a:gd name="connsiteY130" fmla="*/ 2929352 h 3027049"/>
                <a:gd name="connsiteX131" fmla="*/ 2684971 w 3027807"/>
                <a:gd name="connsiteY131" fmla="*/ 2929352 h 3027049"/>
                <a:gd name="connsiteX132" fmla="*/ 490338 w 3027807"/>
                <a:gd name="connsiteY132" fmla="*/ 2424261 h 3027049"/>
                <a:gd name="connsiteX133" fmla="*/ 518903 w 3027807"/>
                <a:gd name="connsiteY133" fmla="*/ 2395467 h 3027049"/>
                <a:gd name="connsiteX134" fmla="*/ 533140 w 3027807"/>
                <a:gd name="connsiteY134" fmla="*/ 1920834 h 3027049"/>
                <a:gd name="connsiteX135" fmla="*/ 534781 w 3027807"/>
                <a:gd name="connsiteY135" fmla="*/ 1463079 h 3027049"/>
                <a:gd name="connsiteX136" fmla="*/ 632072 w 3027807"/>
                <a:gd name="connsiteY136" fmla="*/ 1463079 h 3027049"/>
                <a:gd name="connsiteX137" fmla="*/ 633712 w 3027807"/>
                <a:gd name="connsiteY137" fmla="*/ 1920834 h 3027049"/>
                <a:gd name="connsiteX138" fmla="*/ 647949 w 3027807"/>
                <a:gd name="connsiteY138" fmla="*/ 2395467 h 3027049"/>
                <a:gd name="connsiteX139" fmla="*/ 730044 w 3027807"/>
                <a:gd name="connsiteY139" fmla="*/ 2437539 h 3027049"/>
                <a:gd name="connsiteX140" fmla="*/ 812140 w 3027807"/>
                <a:gd name="connsiteY140" fmla="*/ 2395467 h 3027049"/>
                <a:gd name="connsiteX141" fmla="*/ 827790 w 3027807"/>
                <a:gd name="connsiteY141" fmla="*/ 1705465 h 3027049"/>
                <a:gd name="connsiteX142" fmla="*/ 874127 w 3027807"/>
                <a:gd name="connsiteY142" fmla="*/ 962304 h 3027049"/>
                <a:gd name="connsiteX143" fmla="*/ 919805 w 3027807"/>
                <a:gd name="connsiteY143" fmla="*/ 925223 h 3027049"/>
                <a:gd name="connsiteX144" fmla="*/ 1071140 w 3027807"/>
                <a:gd name="connsiteY144" fmla="*/ 889517 h 3027049"/>
                <a:gd name="connsiteX145" fmla="*/ 1236834 w 3027807"/>
                <a:gd name="connsiteY145" fmla="*/ 845642 h 3027049"/>
                <a:gd name="connsiteX146" fmla="*/ 1343010 w 3027807"/>
                <a:gd name="connsiteY146" fmla="*/ 731007 h 3027049"/>
                <a:gd name="connsiteX147" fmla="*/ 1362343 w 3027807"/>
                <a:gd name="connsiteY147" fmla="*/ 690199 h 3027049"/>
                <a:gd name="connsiteX148" fmla="*/ 1362343 w 3027807"/>
                <a:gd name="connsiteY148" fmla="*/ 235285 h 3027049"/>
                <a:gd name="connsiteX149" fmla="*/ 1342370 w 3027807"/>
                <a:gd name="connsiteY149" fmla="*/ 215307 h 3027049"/>
                <a:gd name="connsiteX150" fmla="*/ 1292088 w 3027807"/>
                <a:gd name="connsiteY150" fmla="*/ 195328 h 3027049"/>
                <a:gd name="connsiteX151" fmla="*/ 1241805 w 3027807"/>
                <a:gd name="connsiteY151" fmla="*/ 215288 h 3027049"/>
                <a:gd name="connsiteX152" fmla="*/ 1221835 w 3027807"/>
                <a:gd name="connsiteY152" fmla="*/ 235246 h 3027049"/>
                <a:gd name="connsiteX153" fmla="*/ 1218775 w 3027807"/>
                <a:gd name="connsiteY153" fmla="*/ 395515 h 3027049"/>
                <a:gd name="connsiteX154" fmla="*/ 1201303 w 3027807"/>
                <a:gd name="connsiteY154" fmla="*/ 583279 h 3027049"/>
                <a:gd name="connsiteX155" fmla="*/ 1124087 w 3027807"/>
                <a:gd name="connsiteY155" fmla="*/ 661744 h 3027049"/>
                <a:gd name="connsiteX156" fmla="*/ 1093541 w 3027807"/>
                <a:gd name="connsiteY156" fmla="*/ 677977 h 3027049"/>
                <a:gd name="connsiteX157" fmla="*/ 698268 w 3027807"/>
                <a:gd name="connsiteY157" fmla="*/ 681662 h 3027049"/>
                <a:gd name="connsiteX158" fmla="*/ 701655 w 3027807"/>
                <a:gd name="connsiteY158" fmla="*/ 701199 h 3027049"/>
                <a:gd name="connsiteX159" fmla="*/ 718640 w 3027807"/>
                <a:gd name="connsiteY159" fmla="*/ 832642 h 3027049"/>
                <a:gd name="connsiteX160" fmla="*/ 732236 w 3027807"/>
                <a:gd name="connsiteY160" fmla="*/ 944545 h 3027049"/>
                <a:gd name="connsiteX161" fmla="*/ 583434 w 3027807"/>
                <a:gd name="connsiteY161" fmla="*/ 1093352 h 3027049"/>
                <a:gd name="connsiteX162" fmla="*/ 434632 w 3027807"/>
                <a:gd name="connsiteY162" fmla="*/ 944545 h 3027049"/>
                <a:gd name="connsiteX163" fmla="*/ 448151 w 3027807"/>
                <a:gd name="connsiteY163" fmla="*/ 832642 h 3027049"/>
                <a:gd name="connsiteX164" fmla="*/ 465085 w 3027807"/>
                <a:gd name="connsiteY164" fmla="*/ 703555 h 3027049"/>
                <a:gd name="connsiteX165" fmla="*/ 445020 w 3027807"/>
                <a:gd name="connsiteY165" fmla="*/ 690561 h 3027049"/>
                <a:gd name="connsiteX166" fmla="*/ 285819 w 3027807"/>
                <a:gd name="connsiteY166" fmla="*/ 760067 h 3027049"/>
                <a:gd name="connsiteX167" fmla="*/ 114548 w 3027807"/>
                <a:gd name="connsiteY167" fmla="*/ 989559 h 3027049"/>
                <a:gd name="connsiteX168" fmla="*/ 98053 w 3027807"/>
                <a:gd name="connsiteY168" fmla="*/ 1038435 h 3027049"/>
                <a:gd name="connsiteX169" fmla="*/ 97903 w 3027807"/>
                <a:gd name="connsiteY169" fmla="*/ 1268608 h 3027049"/>
                <a:gd name="connsiteX170" fmla="*/ 110353 w 3027807"/>
                <a:gd name="connsiteY170" fmla="*/ 1515657 h 3027049"/>
                <a:gd name="connsiteX171" fmla="*/ 198754 w 3027807"/>
                <a:gd name="connsiteY171" fmla="*/ 1559761 h 3027049"/>
                <a:gd name="connsiteX172" fmla="*/ 241322 w 3027807"/>
                <a:gd name="connsiteY172" fmla="*/ 1562162 h 3027049"/>
                <a:gd name="connsiteX173" fmla="*/ 241322 w 3027807"/>
                <a:gd name="connsiteY173" fmla="*/ 1023154 h 3027049"/>
                <a:gd name="connsiteX174" fmla="*/ 339068 w 3027807"/>
                <a:gd name="connsiteY174" fmla="*/ 1023154 h 3027049"/>
                <a:gd name="connsiteX175" fmla="*/ 339068 w 3027807"/>
                <a:gd name="connsiteY175" fmla="*/ 1691749 h 3027049"/>
                <a:gd name="connsiteX176" fmla="*/ 345584 w 3027807"/>
                <a:gd name="connsiteY176" fmla="*/ 2377526 h 3027049"/>
                <a:gd name="connsiteX177" fmla="*/ 397104 w 3027807"/>
                <a:gd name="connsiteY177" fmla="*/ 2432274 h 3027049"/>
                <a:gd name="connsiteX178" fmla="*/ 490347 w 3027807"/>
                <a:gd name="connsiteY178" fmla="*/ 2424215 h 3027049"/>
                <a:gd name="connsiteX179" fmla="*/ 2196254 w 3027807"/>
                <a:gd name="connsiteY179" fmla="*/ 1948058 h 3027049"/>
                <a:gd name="connsiteX180" fmla="*/ 2179445 w 3027807"/>
                <a:gd name="connsiteY180" fmla="*/ 1924990 h 3027049"/>
                <a:gd name="connsiteX181" fmla="*/ 2153492 w 3027807"/>
                <a:gd name="connsiteY181" fmla="*/ 1892339 h 3027049"/>
                <a:gd name="connsiteX182" fmla="*/ 2023035 w 3027807"/>
                <a:gd name="connsiteY182" fmla="*/ 1848744 h 3027049"/>
                <a:gd name="connsiteX183" fmla="*/ 1901744 w 3027807"/>
                <a:gd name="connsiteY183" fmla="*/ 1818518 h 3027049"/>
                <a:gd name="connsiteX184" fmla="*/ 1904007 w 3027807"/>
                <a:gd name="connsiteY184" fmla="*/ 1863406 h 3027049"/>
                <a:gd name="connsiteX185" fmla="*/ 1921440 w 3027807"/>
                <a:gd name="connsiteY185" fmla="*/ 1924620 h 3027049"/>
                <a:gd name="connsiteX186" fmla="*/ 1948824 w 3027807"/>
                <a:gd name="connsiteY186" fmla="*/ 1946003 h 3027049"/>
                <a:gd name="connsiteX187" fmla="*/ 2196254 w 3027807"/>
                <a:gd name="connsiteY187" fmla="*/ 1948058 h 3027049"/>
                <a:gd name="connsiteX188" fmla="*/ 2540984 w 3027807"/>
                <a:gd name="connsiteY188" fmla="*/ 1928500 h 3027049"/>
                <a:gd name="connsiteX189" fmla="*/ 2659111 w 3027807"/>
                <a:gd name="connsiteY189" fmla="*/ 1812283 h 3027049"/>
                <a:gd name="connsiteX190" fmla="*/ 2681923 w 3027807"/>
                <a:gd name="connsiteY190" fmla="*/ 1707450 h 3027049"/>
                <a:gd name="connsiteX191" fmla="*/ 2659111 w 3027807"/>
                <a:gd name="connsiteY191" fmla="*/ 1602618 h 3027049"/>
                <a:gd name="connsiteX192" fmla="*/ 2539460 w 3027807"/>
                <a:gd name="connsiteY192" fmla="*/ 1485454 h 3027049"/>
                <a:gd name="connsiteX193" fmla="*/ 2440613 w 3027807"/>
                <a:gd name="connsiteY193" fmla="*/ 1466127 h 3027049"/>
                <a:gd name="connsiteX194" fmla="*/ 2341766 w 3027807"/>
                <a:gd name="connsiteY194" fmla="*/ 1485454 h 3027049"/>
                <a:gd name="connsiteX195" fmla="*/ 2222115 w 3027807"/>
                <a:gd name="connsiteY195" fmla="*/ 1602618 h 3027049"/>
                <a:gd name="connsiteX196" fmla="*/ 2199302 w 3027807"/>
                <a:gd name="connsiteY196" fmla="*/ 1707127 h 3027049"/>
                <a:gd name="connsiteX197" fmla="*/ 2218651 w 3027807"/>
                <a:gd name="connsiteY197" fmla="*/ 1806303 h 3027049"/>
                <a:gd name="connsiteX198" fmla="*/ 2323732 w 3027807"/>
                <a:gd name="connsiteY198" fmla="*/ 1920348 h 3027049"/>
                <a:gd name="connsiteX199" fmla="*/ 2454351 w 3027807"/>
                <a:gd name="connsiteY199" fmla="*/ 1949120 h 3027049"/>
                <a:gd name="connsiteX200" fmla="*/ 2540984 w 3027807"/>
                <a:gd name="connsiteY200" fmla="*/ 1928500 h 3027049"/>
                <a:gd name="connsiteX201" fmla="*/ 2101563 w 3027807"/>
                <a:gd name="connsiteY201" fmla="*/ 1707520 h 3027049"/>
                <a:gd name="connsiteX202" fmla="*/ 2092396 w 3027807"/>
                <a:gd name="connsiteY202" fmla="*/ 1649238 h 3027049"/>
                <a:gd name="connsiteX203" fmla="*/ 1993134 w 3027807"/>
                <a:gd name="connsiteY203" fmla="*/ 1674361 h 3027049"/>
                <a:gd name="connsiteX204" fmla="*/ 1999229 w 3027807"/>
                <a:gd name="connsiteY204" fmla="*/ 1742803 h 3027049"/>
                <a:gd name="connsiteX205" fmla="*/ 2098515 w 3027807"/>
                <a:gd name="connsiteY205" fmla="*/ 1767972 h 3027049"/>
                <a:gd name="connsiteX206" fmla="*/ 2101563 w 3027807"/>
                <a:gd name="connsiteY206" fmla="*/ 1707520 h 3027049"/>
                <a:gd name="connsiteX207" fmla="*/ 608003 w 3027807"/>
                <a:gd name="connsiteY207" fmla="*/ 928365 h 3027049"/>
                <a:gd name="connsiteX208" fmla="*/ 630033 w 3027807"/>
                <a:gd name="connsiteY208" fmla="*/ 906854 h 3027049"/>
                <a:gd name="connsiteX209" fmla="*/ 616150 w 3027807"/>
                <a:gd name="connsiteY209" fmla="*/ 798541 h 3027049"/>
                <a:gd name="connsiteX210" fmla="*/ 602014 w 3027807"/>
                <a:gd name="connsiteY210" fmla="*/ 685645 h 3027049"/>
                <a:gd name="connsiteX211" fmla="*/ 583434 w 3027807"/>
                <a:gd name="connsiteY211" fmla="*/ 681062 h 3027049"/>
                <a:gd name="connsiteX212" fmla="*/ 564853 w 3027807"/>
                <a:gd name="connsiteY212" fmla="*/ 685645 h 3027049"/>
                <a:gd name="connsiteX213" fmla="*/ 550736 w 3027807"/>
                <a:gd name="connsiteY213" fmla="*/ 798398 h 3027049"/>
                <a:gd name="connsiteX214" fmla="*/ 536871 w 3027807"/>
                <a:gd name="connsiteY214" fmla="*/ 906570 h 3027049"/>
                <a:gd name="connsiteX215" fmla="*/ 558522 w 3027807"/>
                <a:gd name="connsiteY215" fmla="*/ 928222 h 3027049"/>
                <a:gd name="connsiteX216" fmla="*/ 583073 w 3027807"/>
                <a:gd name="connsiteY216" fmla="*/ 949877 h 3027049"/>
                <a:gd name="connsiteX217" fmla="*/ 608003 w 3027807"/>
                <a:gd name="connsiteY217" fmla="*/ 928363 h 3027049"/>
                <a:gd name="connsiteX218" fmla="*/ 683800 w 3027807"/>
                <a:gd name="connsiteY218" fmla="*/ 559973 h 3027049"/>
                <a:gd name="connsiteX219" fmla="*/ 801930 w 3027807"/>
                <a:gd name="connsiteY219" fmla="*/ 443773 h 3027049"/>
                <a:gd name="connsiteX220" fmla="*/ 824745 w 3027807"/>
                <a:gd name="connsiteY220" fmla="*/ 338931 h 3027049"/>
                <a:gd name="connsiteX221" fmla="*/ 801930 w 3027807"/>
                <a:gd name="connsiteY221" fmla="*/ 234089 h 3027049"/>
                <a:gd name="connsiteX222" fmla="*/ 682279 w 3027807"/>
                <a:gd name="connsiteY222" fmla="*/ 116939 h 3027049"/>
                <a:gd name="connsiteX223" fmla="*/ 583434 w 3027807"/>
                <a:gd name="connsiteY223" fmla="*/ 97605 h 3027049"/>
                <a:gd name="connsiteX224" fmla="*/ 484589 w 3027807"/>
                <a:gd name="connsiteY224" fmla="*/ 116939 h 3027049"/>
                <a:gd name="connsiteX225" fmla="*/ 364938 w 3027807"/>
                <a:gd name="connsiteY225" fmla="*/ 234089 h 3027049"/>
                <a:gd name="connsiteX226" fmla="*/ 342123 w 3027807"/>
                <a:gd name="connsiteY226" fmla="*/ 338612 h 3027049"/>
                <a:gd name="connsiteX227" fmla="*/ 361454 w 3027807"/>
                <a:gd name="connsiteY227" fmla="*/ 437778 h 3027049"/>
                <a:gd name="connsiteX228" fmla="*/ 466537 w 3027807"/>
                <a:gd name="connsiteY228" fmla="*/ 551831 h 3027049"/>
                <a:gd name="connsiteX229" fmla="*/ 597172 w 3027807"/>
                <a:gd name="connsiteY229" fmla="*/ 580609 h 3027049"/>
                <a:gd name="connsiteX230" fmla="*/ 683798 w 3027807"/>
                <a:gd name="connsiteY230" fmla="*/ 559973 h 3027049"/>
                <a:gd name="connsiteX231" fmla="*/ 1097915 w 3027807"/>
                <a:gd name="connsiteY231" fmla="*/ 560403 h 3027049"/>
                <a:gd name="connsiteX232" fmla="*/ 1120041 w 3027807"/>
                <a:gd name="connsiteY232" fmla="*/ 495270 h 3027049"/>
                <a:gd name="connsiteX233" fmla="*/ 1122327 w 3027807"/>
                <a:gd name="connsiteY233" fmla="*/ 449993 h 3027049"/>
                <a:gd name="connsiteX234" fmla="*/ 1001032 w 3027807"/>
                <a:gd name="connsiteY234" fmla="*/ 480229 h 3027049"/>
                <a:gd name="connsiteX235" fmla="*/ 870573 w 3027807"/>
                <a:gd name="connsiteY235" fmla="*/ 523833 h 3027049"/>
                <a:gd name="connsiteX236" fmla="*/ 844609 w 3027807"/>
                <a:gd name="connsiteY236" fmla="*/ 556482 h 3027049"/>
                <a:gd name="connsiteX237" fmla="*/ 827809 w 3027807"/>
                <a:gd name="connsiteY237" fmla="*/ 579887 h 3027049"/>
                <a:gd name="connsiteX238" fmla="*/ 952943 w 3027807"/>
                <a:gd name="connsiteY238" fmla="*/ 582136 h 3027049"/>
                <a:gd name="connsiteX239" fmla="*/ 1078078 w 3027807"/>
                <a:gd name="connsiteY239" fmla="*/ 580258 h 3027049"/>
                <a:gd name="connsiteX240" fmla="*/ 1030936 w 3027807"/>
                <a:gd name="connsiteY240" fmla="*/ 372027 h 3027049"/>
                <a:gd name="connsiteX241" fmla="*/ 1121046 w 3027807"/>
                <a:gd name="connsiteY241" fmla="*/ 338933 h 3027049"/>
                <a:gd name="connsiteX242" fmla="*/ 1030936 w 3027807"/>
                <a:gd name="connsiteY242" fmla="*/ 305841 h 3027049"/>
                <a:gd name="connsiteX243" fmla="*/ 931661 w 3027807"/>
                <a:gd name="connsiteY243" fmla="*/ 280719 h 3027049"/>
                <a:gd name="connsiteX244" fmla="*/ 922497 w 3027807"/>
                <a:gd name="connsiteY244" fmla="*/ 338933 h 3027049"/>
                <a:gd name="connsiteX245" fmla="*/ 931661 w 3027807"/>
                <a:gd name="connsiteY245" fmla="*/ 397147 h 3027049"/>
                <a:gd name="connsiteX246" fmla="*/ 1030936 w 3027807"/>
                <a:gd name="connsiteY246" fmla="*/ 372025 h 302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3027807" h="3027049">
                  <a:moveTo>
                    <a:pt x="2098492" y="2727422"/>
                  </a:moveTo>
                  <a:cubicBezTo>
                    <a:pt x="2098492" y="2399439"/>
                    <a:pt x="2098723" y="2401610"/>
                    <a:pt x="2062680" y="2382975"/>
                  </a:cubicBezTo>
                  <a:cubicBezTo>
                    <a:pt x="2053190" y="2378057"/>
                    <a:pt x="1998929" y="2365565"/>
                    <a:pt x="1942128" y="2355220"/>
                  </a:cubicBezTo>
                  <a:cubicBezTo>
                    <a:pt x="1885328" y="2344852"/>
                    <a:pt x="1820870" y="2331067"/>
                    <a:pt x="1798889" y="2324532"/>
                  </a:cubicBezTo>
                  <a:cubicBezTo>
                    <a:pt x="1700462" y="2295368"/>
                    <a:pt x="1611920" y="2207392"/>
                    <a:pt x="1577920" y="2105007"/>
                  </a:cubicBezTo>
                  <a:cubicBezTo>
                    <a:pt x="1565957" y="2068962"/>
                    <a:pt x="1564350" y="2049057"/>
                    <a:pt x="1562279" y="1910997"/>
                  </a:cubicBezTo>
                  <a:lnTo>
                    <a:pt x="1559968" y="1757142"/>
                  </a:lnTo>
                  <a:lnTo>
                    <a:pt x="1209604" y="1753263"/>
                  </a:lnTo>
                  <a:lnTo>
                    <a:pt x="1169895" y="1734259"/>
                  </a:lnTo>
                  <a:cubicBezTo>
                    <a:pt x="1111715" y="1706411"/>
                    <a:pt x="1076591" y="1672306"/>
                    <a:pt x="1049375" y="1617234"/>
                  </a:cubicBezTo>
                  <a:cubicBezTo>
                    <a:pt x="1027558" y="1573084"/>
                    <a:pt x="1026329" y="1567473"/>
                    <a:pt x="1026329" y="1511940"/>
                  </a:cubicBezTo>
                  <a:cubicBezTo>
                    <a:pt x="1026329" y="1456383"/>
                    <a:pt x="1027558" y="1450772"/>
                    <a:pt x="1049375" y="1406622"/>
                  </a:cubicBezTo>
                  <a:cubicBezTo>
                    <a:pt x="1076593" y="1351550"/>
                    <a:pt x="1111715" y="1317445"/>
                    <a:pt x="1169895" y="1289620"/>
                  </a:cubicBezTo>
                  <a:lnTo>
                    <a:pt x="1209604" y="1270617"/>
                  </a:lnTo>
                  <a:lnTo>
                    <a:pt x="1551725" y="1267545"/>
                  </a:lnTo>
                  <a:cubicBezTo>
                    <a:pt x="1847666" y="1264913"/>
                    <a:pt x="1896734" y="1263181"/>
                    <a:pt x="1915229" y="1254753"/>
                  </a:cubicBezTo>
                  <a:cubicBezTo>
                    <a:pt x="1939173" y="1243808"/>
                    <a:pt x="1979257" y="1202245"/>
                    <a:pt x="1990063" y="1177119"/>
                  </a:cubicBezTo>
                  <a:cubicBezTo>
                    <a:pt x="1994450" y="1166950"/>
                    <a:pt x="1998444" y="1104351"/>
                    <a:pt x="2000499" y="1013675"/>
                  </a:cubicBezTo>
                  <a:lnTo>
                    <a:pt x="2003801" y="866713"/>
                  </a:lnTo>
                  <a:lnTo>
                    <a:pt x="2026637" y="820563"/>
                  </a:lnTo>
                  <a:cubicBezTo>
                    <a:pt x="2054114" y="764979"/>
                    <a:pt x="2089487" y="730333"/>
                    <a:pt x="2146288" y="703432"/>
                  </a:cubicBezTo>
                  <a:lnTo>
                    <a:pt x="2187087" y="684101"/>
                  </a:lnTo>
                  <a:lnTo>
                    <a:pt x="2504756" y="681046"/>
                  </a:lnTo>
                  <a:cubicBezTo>
                    <a:pt x="2863293" y="677598"/>
                    <a:pt x="2846761" y="679833"/>
                    <a:pt x="2891763" y="628703"/>
                  </a:cubicBezTo>
                  <a:cubicBezTo>
                    <a:pt x="2927367" y="588250"/>
                    <a:pt x="2937411" y="541798"/>
                    <a:pt x="2921895" y="489306"/>
                  </a:cubicBezTo>
                  <a:cubicBezTo>
                    <a:pt x="2911990" y="455748"/>
                    <a:pt x="2861377" y="405135"/>
                    <a:pt x="2827827" y="395219"/>
                  </a:cubicBezTo>
                  <a:cubicBezTo>
                    <a:pt x="2808756" y="389583"/>
                    <a:pt x="2641008" y="387789"/>
                    <a:pt x="2133381" y="387789"/>
                  </a:cubicBezTo>
                  <a:lnTo>
                    <a:pt x="1464072" y="387789"/>
                  </a:lnTo>
                  <a:lnTo>
                    <a:pt x="1461756" y="542052"/>
                  </a:lnTo>
                  <a:cubicBezTo>
                    <a:pt x="1459680" y="680528"/>
                    <a:pt x="1458077" y="700426"/>
                    <a:pt x="1446110" y="736468"/>
                  </a:cubicBezTo>
                  <a:cubicBezTo>
                    <a:pt x="1412108" y="838872"/>
                    <a:pt x="1323568" y="926844"/>
                    <a:pt x="1225141" y="956017"/>
                  </a:cubicBezTo>
                  <a:cubicBezTo>
                    <a:pt x="1203162" y="962531"/>
                    <a:pt x="1138703" y="976335"/>
                    <a:pt x="1081897" y="986688"/>
                  </a:cubicBezTo>
                  <a:cubicBezTo>
                    <a:pt x="972902" y="1006556"/>
                    <a:pt x="949090" y="1014788"/>
                    <a:pt x="936411" y="1036983"/>
                  </a:cubicBezTo>
                  <a:cubicBezTo>
                    <a:pt x="930244" y="1047778"/>
                    <a:pt x="927949" y="1191902"/>
                    <a:pt x="925540" y="1719642"/>
                  </a:cubicBezTo>
                  <a:lnTo>
                    <a:pt x="922486" y="2388632"/>
                  </a:lnTo>
                  <a:lnTo>
                    <a:pt x="906480" y="2422761"/>
                  </a:lnTo>
                  <a:cubicBezTo>
                    <a:pt x="886126" y="2466171"/>
                    <a:pt x="853353" y="2498938"/>
                    <a:pt x="809992" y="2519211"/>
                  </a:cubicBezTo>
                  <a:cubicBezTo>
                    <a:pt x="743055" y="2550523"/>
                    <a:pt x="654047" y="2537061"/>
                    <a:pt x="603279" y="2487923"/>
                  </a:cubicBezTo>
                  <a:lnTo>
                    <a:pt x="583424" y="2468711"/>
                  </a:lnTo>
                  <a:lnTo>
                    <a:pt x="563570" y="2487923"/>
                  </a:lnTo>
                  <a:cubicBezTo>
                    <a:pt x="494831" y="2554448"/>
                    <a:pt x="370593" y="2551123"/>
                    <a:pt x="300347" y="2480857"/>
                  </a:cubicBezTo>
                  <a:cubicBezTo>
                    <a:pt x="288037" y="2468550"/>
                    <a:pt x="270406" y="2444143"/>
                    <a:pt x="261166" y="2426617"/>
                  </a:cubicBezTo>
                  <a:lnTo>
                    <a:pt x="244366" y="2394751"/>
                  </a:lnTo>
                  <a:lnTo>
                    <a:pt x="240863" y="1660114"/>
                  </a:lnTo>
                  <a:lnTo>
                    <a:pt x="193621" y="1657366"/>
                  </a:lnTo>
                  <a:cubicBezTo>
                    <a:pt x="111934" y="1652633"/>
                    <a:pt x="53215" y="1615941"/>
                    <a:pt x="16800" y="1546853"/>
                  </a:cubicBezTo>
                  <a:lnTo>
                    <a:pt x="0" y="1514988"/>
                  </a:lnTo>
                  <a:lnTo>
                    <a:pt x="0" y="1276713"/>
                  </a:lnTo>
                  <a:cubicBezTo>
                    <a:pt x="0" y="1062203"/>
                    <a:pt x="1152" y="1034189"/>
                    <a:pt x="11543" y="995835"/>
                  </a:cubicBezTo>
                  <a:cubicBezTo>
                    <a:pt x="60283" y="815947"/>
                    <a:pt x="172859" y="689211"/>
                    <a:pt x="347775" y="617306"/>
                  </a:cubicBezTo>
                  <a:lnTo>
                    <a:pt x="371754" y="607450"/>
                  </a:lnTo>
                  <a:lnTo>
                    <a:pt x="345351" y="581619"/>
                  </a:lnTo>
                  <a:cubicBezTo>
                    <a:pt x="308985" y="546045"/>
                    <a:pt x="275294" y="492578"/>
                    <a:pt x="258587" y="443927"/>
                  </a:cubicBezTo>
                  <a:cubicBezTo>
                    <a:pt x="247430" y="411441"/>
                    <a:pt x="244550" y="389892"/>
                    <a:pt x="244550" y="338905"/>
                  </a:cubicBezTo>
                  <a:cubicBezTo>
                    <a:pt x="244550" y="287916"/>
                    <a:pt x="247430" y="266365"/>
                    <a:pt x="258587" y="233879"/>
                  </a:cubicBezTo>
                  <a:cubicBezTo>
                    <a:pt x="293840" y="131219"/>
                    <a:pt x="375762" y="49292"/>
                    <a:pt x="478417" y="14039"/>
                  </a:cubicBezTo>
                  <a:cubicBezTo>
                    <a:pt x="510902" y="2882"/>
                    <a:pt x="532452" y="0"/>
                    <a:pt x="583436" y="0"/>
                  </a:cubicBezTo>
                  <a:cubicBezTo>
                    <a:pt x="653656" y="0"/>
                    <a:pt x="700097" y="11885"/>
                    <a:pt x="756025" y="44168"/>
                  </a:cubicBezTo>
                  <a:cubicBezTo>
                    <a:pt x="788985" y="63195"/>
                    <a:pt x="846698" y="117717"/>
                    <a:pt x="864685" y="146824"/>
                  </a:cubicBezTo>
                  <a:cubicBezTo>
                    <a:pt x="876228" y="165502"/>
                    <a:pt x="881635" y="167552"/>
                    <a:pt x="991256" y="194823"/>
                  </a:cubicBezTo>
                  <a:cubicBezTo>
                    <a:pt x="1054238" y="210492"/>
                    <a:pt x="1109894" y="224536"/>
                    <a:pt x="1114932" y="226032"/>
                  </a:cubicBezTo>
                  <a:cubicBezTo>
                    <a:pt x="1121201" y="227893"/>
                    <a:pt x="1127783" y="219812"/>
                    <a:pt x="1135766" y="200448"/>
                  </a:cubicBezTo>
                  <a:cubicBezTo>
                    <a:pt x="1151513" y="162246"/>
                    <a:pt x="1177798" y="133680"/>
                    <a:pt x="1215185" y="114138"/>
                  </a:cubicBezTo>
                  <a:cubicBezTo>
                    <a:pt x="1259494" y="90976"/>
                    <a:pt x="1324651" y="90900"/>
                    <a:pt x="1368464" y="113954"/>
                  </a:cubicBezTo>
                  <a:cubicBezTo>
                    <a:pt x="1423357" y="142847"/>
                    <a:pt x="1455962" y="191978"/>
                    <a:pt x="1461617" y="254319"/>
                  </a:cubicBezTo>
                  <a:lnTo>
                    <a:pt x="1464831" y="289763"/>
                  </a:lnTo>
                  <a:lnTo>
                    <a:pt x="2841427" y="293070"/>
                  </a:lnTo>
                  <a:lnTo>
                    <a:pt x="2888045" y="316117"/>
                  </a:lnTo>
                  <a:cubicBezTo>
                    <a:pt x="2943115" y="343336"/>
                    <a:pt x="2977218" y="378462"/>
                    <a:pt x="3005041" y="436642"/>
                  </a:cubicBezTo>
                  <a:cubicBezTo>
                    <a:pt x="3022197" y="472470"/>
                    <a:pt x="3024044" y="482032"/>
                    <a:pt x="3024044" y="534393"/>
                  </a:cubicBezTo>
                  <a:cubicBezTo>
                    <a:pt x="3024044" y="586754"/>
                    <a:pt x="3022197" y="596318"/>
                    <a:pt x="3005041" y="632144"/>
                  </a:cubicBezTo>
                  <a:cubicBezTo>
                    <a:pt x="2977218" y="690312"/>
                    <a:pt x="2943115" y="725449"/>
                    <a:pt x="2888045" y="752669"/>
                  </a:cubicBezTo>
                  <a:lnTo>
                    <a:pt x="2841451" y="775716"/>
                  </a:lnTo>
                  <a:lnTo>
                    <a:pt x="2523435" y="778771"/>
                  </a:lnTo>
                  <a:cubicBezTo>
                    <a:pt x="2169077" y="782175"/>
                    <a:pt x="2183093" y="780471"/>
                    <a:pt x="2140007" y="825408"/>
                  </a:cubicBezTo>
                  <a:cubicBezTo>
                    <a:pt x="2102994" y="864009"/>
                    <a:pt x="2098515" y="885562"/>
                    <a:pt x="2098423" y="1025444"/>
                  </a:cubicBezTo>
                  <a:cubicBezTo>
                    <a:pt x="2098377" y="1108470"/>
                    <a:pt x="2095698" y="1158312"/>
                    <a:pt x="2090203" y="1178941"/>
                  </a:cubicBezTo>
                  <a:cubicBezTo>
                    <a:pt x="2070392" y="1253044"/>
                    <a:pt x="2027630" y="1305461"/>
                    <a:pt x="1959446" y="1339173"/>
                  </a:cubicBezTo>
                  <a:lnTo>
                    <a:pt x="1912827" y="1362218"/>
                  </a:lnTo>
                  <a:lnTo>
                    <a:pt x="1570393" y="1365289"/>
                  </a:lnTo>
                  <a:cubicBezTo>
                    <a:pt x="1188812" y="1368684"/>
                    <a:pt x="1205852" y="1366744"/>
                    <a:pt x="1162536" y="1411910"/>
                  </a:cubicBezTo>
                  <a:cubicBezTo>
                    <a:pt x="1124876" y="1451188"/>
                    <a:pt x="1112623" y="1503396"/>
                    <a:pt x="1128467" y="1557013"/>
                  </a:cubicBezTo>
                  <a:cubicBezTo>
                    <a:pt x="1138382" y="1590587"/>
                    <a:pt x="1188990" y="1641203"/>
                    <a:pt x="1222548" y="1651109"/>
                  </a:cubicBezTo>
                  <a:cubicBezTo>
                    <a:pt x="1239408" y="1656096"/>
                    <a:pt x="1299017" y="1658544"/>
                    <a:pt x="1403447" y="1658544"/>
                  </a:cubicBezTo>
                  <a:lnTo>
                    <a:pt x="1559201" y="1658544"/>
                  </a:lnTo>
                  <a:lnTo>
                    <a:pt x="1562422" y="1623030"/>
                  </a:lnTo>
                  <a:cubicBezTo>
                    <a:pt x="1568144" y="1559923"/>
                    <a:pt x="1601746" y="1510208"/>
                    <a:pt x="1658646" y="1480652"/>
                  </a:cubicBezTo>
                  <a:cubicBezTo>
                    <a:pt x="1699409" y="1459477"/>
                    <a:pt x="1766247" y="1460378"/>
                    <a:pt x="1808871" y="1482660"/>
                  </a:cubicBezTo>
                  <a:cubicBezTo>
                    <a:pt x="1846255" y="1502195"/>
                    <a:pt x="1872536" y="1530759"/>
                    <a:pt x="1888283" y="1568951"/>
                  </a:cubicBezTo>
                  <a:cubicBezTo>
                    <a:pt x="1896272" y="1588324"/>
                    <a:pt x="1902853" y="1596406"/>
                    <a:pt x="1909133" y="1594536"/>
                  </a:cubicBezTo>
                  <a:cubicBezTo>
                    <a:pt x="1914167" y="1593058"/>
                    <a:pt x="1969674" y="1579042"/>
                    <a:pt x="2032455" y="1563409"/>
                  </a:cubicBezTo>
                  <a:cubicBezTo>
                    <a:pt x="2145226" y="1535377"/>
                    <a:pt x="2146819" y="1534730"/>
                    <a:pt x="2161527" y="1512771"/>
                  </a:cubicBezTo>
                  <a:cubicBezTo>
                    <a:pt x="2198586" y="1457422"/>
                    <a:pt x="2267347" y="1405999"/>
                    <a:pt x="2335601" y="1382538"/>
                  </a:cubicBezTo>
                  <a:cubicBezTo>
                    <a:pt x="2393556" y="1362634"/>
                    <a:pt x="2487693" y="1362634"/>
                    <a:pt x="2545648" y="1382538"/>
                  </a:cubicBezTo>
                  <a:cubicBezTo>
                    <a:pt x="2650706" y="1418629"/>
                    <a:pt x="2733529" y="1502703"/>
                    <a:pt x="2766155" y="1606358"/>
                  </a:cubicBezTo>
                  <a:cubicBezTo>
                    <a:pt x="2785181" y="1666880"/>
                    <a:pt x="2784858" y="1755457"/>
                    <a:pt x="2765393" y="1812445"/>
                  </a:cubicBezTo>
                  <a:cubicBezTo>
                    <a:pt x="2748861" y="1860843"/>
                    <a:pt x="2715427" y="1914229"/>
                    <a:pt x="2678991" y="1950413"/>
                  </a:cubicBezTo>
                  <a:cubicBezTo>
                    <a:pt x="2664537" y="1964776"/>
                    <a:pt x="2653777" y="1977337"/>
                    <a:pt x="2655093" y="1978353"/>
                  </a:cubicBezTo>
                  <a:cubicBezTo>
                    <a:pt x="2656409" y="1979346"/>
                    <a:pt x="2671233" y="1985165"/>
                    <a:pt x="2688042" y="1991284"/>
                  </a:cubicBezTo>
                  <a:cubicBezTo>
                    <a:pt x="2810903" y="2035988"/>
                    <a:pt x="2927621" y="2149133"/>
                    <a:pt x="2981605" y="2275903"/>
                  </a:cubicBezTo>
                  <a:cubicBezTo>
                    <a:pt x="3023836" y="2375055"/>
                    <a:pt x="3023259" y="2369282"/>
                    <a:pt x="3025637" y="2713937"/>
                  </a:cubicBezTo>
                  <a:lnTo>
                    <a:pt x="3027808" y="3027050"/>
                  </a:lnTo>
                  <a:lnTo>
                    <a:pt x="2098515" y="3027050"/>
                  </a:lnTo>
                  <a:close/>
                  <a:moveTo>
                    <a:pt x="2684971" y="2611644"/>
                  </a:moveTo>
                  <a:lnTo>
                    <a:pt x="2684971" y="2293960"/>
                  </a:lnTo>
                  <a:lnTo>
                    <a:pt x="2782710" y="2293960"/>
                  </a:lnTo>
                  <a:lnTo>
                    <a:pt x="2782710" y="2929352"/>
                  </a:lnTo>
                  <a:lnTo>
                    <a:pt x="2930046" y="2929352"/>
                  </a:lnTo>
                  <a:lnTo>
                    <a:pt x="2928037" y="2668171"/>
                  </a:lnTo>
                  <a:lnTo>
                    <a:pt x="2926028" y="2406990"/>
                  </a:lnTo>
                  <a:lnTo>
                    <a:pt x="2910166" y="2360161"/>
                  </a:lnTo>
                  <a:cubicBezTo>
                    <a:pt x="2885275" y="2286640"/>
                    <a:pt x="2853319" y="2235193"/>
                    <a:pt x="2798527" y="2180399"/>
                  </a:cubicBezTo>
                  <a:cubicBezTo>
                    <a:pt x="2743712" y="2125581"/>
                    <a:pt x="2692221" y="2093623"/>
                    <a:pt x="2618796" y="2068800"/>
                  </a:cubicBezTo>
                  <a:lnTo>
                    <a:pt x="2571947" y="2052960"/>
                  </a:lnTo>
                  <a:lnTo>
                    <a:pt x="2251207" y="2049750"/>
                  </a:lnTo>
                  <a:cubicBezTo>
                    <a:pt x="1935409" y="2046587"/>
                    <a:pt x="1930099" y="2046333"/>
                    <a:pt x="1905323" y="2033078"/>
                  </a:cubicBezTo>
                  <a:cubicBezTo>
                    <a:pt x="1866094" y="2012089"/>
                    <a:pt x="1842704" y="1989598"/>
                    <a:pt x="1824805" y="1955631"/>
                  </a:cubicBezTo>
                  <a:cubicBezTo>
                    <a:pt x="1808393" y="1924482"/>
                    <a:pt x="1808307" y="1923651"/>
                    <a:pt x="1805250" y="1764069"/>
                  </a:cubicBezTo>
                  <a:lnTo>
                    <a:pt x="1802181" y="1603795"/>
                  </a:lnTo>
                  <a:lnTo>
                    <a:pt x="1782209" y="1583845"/>
                  </a:lnTo>
                  <a:cubicBezTo>
                    <a:pt x="1765023" y="1566665"/>
                    <a:pt x="1758006" y="1563894"/>
                    <a:pt x="1731926" y="1563894"/>
                  </a:cubicBezTo>
                  <a:cubicBezTo>
                    <a:pt x="1705835" y="1563894"/>
                    <a:pt x="1698834" y="1566665"/>
                    <a:pt x="1681644" y="1583868"/>
                  </a:cubicBezTo>
                  <a:lnTo>
                    <a:pt x="1661671" y="1603842"/>
                  </a:lnTo>
                  <a:lnTo>
                    <a:pt x="1661671" y="2058755"/>
                  </a:lnTo>
                  <a:lnTo>
                    <a:pt x="1681004" y="2099557"/>
                  </a:lnTo>
                  <a:cubicBezTo>
                    <a:pt x="1705719" y="2151743"/>
                    <a:pt x="1740553" y="2189335"/>
                    <a:pt x="1787180" y="2214203"/>
                  </a:cubicBezTo>
                  <a:cubicBezTo>
                    <a:pt x="1817243" y="2230229"/>
                    <a:pt x="1848130" y="2238403"/>
                    <a:pt x="1952865" y="2258076"/>
                  </a:cubicBezTo>
                  <a:cubicBezTo>
                    <a:pt x="2023681" y="2271377"/>
                    <a:pt x="2091958" y="2287517"/>
                    <a:pt x="2104565" y="2293960"/>
                  </a:cubicBezTo>
                  <a:cubicBezTo>
                    <a:pt x="2137791" y="2310908"/>
                    <a:pt x="2176328" y="2357506"/>
                    <a:pt x="2187087" y="2393735"/>
                  </a:cubicBezTo>
                  <a:cubicBezTo>
                    <a:pt x="2194545" y="2418858"/>
                    <a:pt x="2196231" y="2470674"/>
                    <a:pt x="2196231" y="2676922"/>
                  </a:cubicBezTo>
                  <a:lnTo>
                    <a:pt x="2196231" y="2929352"/>
                  </a:lnTo>
                  <a:lnTo>
                    <a:pt x="2684971" y="2929352"/>
                  </a:lnTo>
                  <a:close/>
                  <a:moveTo>
                    <a:pt x="490338" y="2424261"/>
                  </a:moveTo>
                  <a:cubicBezTo>
                    <a:pt x="499122" y="2417704"/>
                    <a:pt x="511973" y="2404750"/>
                    <a:pt x="518903" y="2395467"/>
                  </a:cubicBezTo>
                  <a:cubicBezTo>
                    <a:pt x="531327" y="2378819"/>
                    <a:pt x="531521" y="2372353"/>
                    <a:pt x="533140" y="1920834"/>
                  </a:cubicBezTo>
                  <a:lnTo>
                    <a:pt x="534781" y="1463079"/>
                  </a:lnTo>
                  <a:lnTo>
                    <a:pt x="632072" y="1463079"/>
                  </a:lnTo>
                  <a:lnTo>
                    <a:pt x="633712" y="1920834"/>
                  </a:lnTo>
                  <a:cubicBezTo>
                    <a:pt x="635330" y="2372353"/>
                    <a:pt x="635526" y="2378819"/>
                    <a:pt x="647949" y="2395467"/>
                  </a:cubicBezTo>
                  <a:cubicBezTo>
                    <a:pt x="671886" y="2427517"/>
                    <a:pt x="691411" y="2437539"/>
                    <a:pt x="730044" y="2437539"/>
                  </a:cubicBezTo>
                  <a:cubicBezTo>
                    <a:pt x="768678" y="2437539"/>
                    <a:pt x="788203" y="2427517"/>
                    <a:pt x="812140" y="2395467"/>
                  </a:cubicBezTo>
                  <a:cubicBezTo>
                    <a:pt x="824638" y="2378726"/>
                    <a:pt x="824761" y="2373415"/>
                    <a:pt x="827790" y="1705465"/>
                  </a:cubicBezTo>
                  <a:cubicBezTo>
                    <a:pt x="831196" y="955354"/>
                    <a:pt x="827545" y="1013866"/>
                    <a:pt x="874127" y="962304"/>
                  </a:cubicBezTo>
                  <a:cubicBezTo>
                    <a:pt x="886824" y="948249"/>
                    <a:pt x="907378" y="931564"/>
                    <a:pt x="919805" y="925223"/>
                  </a:cubicBezTo>
                  <a:cubicBezTo>
                    <a:pt x="932230" y="918884"/>
                    <a:pt x="1000330" y="902815"/>
                    <a:pt x="1071140" y="889517"/>
                  </a:cubicBezTo>
                  <a:cubicBezTo>
                    <a:pt x="1175884" y="869846"/>
                    <a:pt x="1206771" y="861667"/>
                    <a:pt x="1236834" y="845642"/>
                  </a:cubicBezTo>
                  <a:cubicBezTo>
                    <a:pt x="1283461" y="820789"/>
                    <a:pt x="1318295" y="783181"/>
                    <a:pt x="1343010" y="731007"/>
                  </a:cubicBezTo>
                  <a:lnTo>
                    <a:pt x="1362343" y="690199"/>
                  </a:lnTo>
                  <a:lnTo>
                    <a:pt x="1362343" y="235285"/>
                  </a:lnTo>
                  <a:lnTo>
                    <a:pt x="1342370" y="215307"/>
                  </a:lnTo>
                  <a:cubicBezTo>
                    <a:pt x="1325180" y="198111"/>
                    <a:pt x="1318177" y="195328"/>
                    <a:pt x="1292088" y="195328"/>
                  </a:cubicBezTo>
                  <a:cubicBezTo>
                    <a:pt x="1266008" y="195328"/>
                    <a:pt x="1258989" y="198113"/>
                    <a:pt x="1241805" y="215288"/>
                  </a:cubicBezTo>
                  <a:lnTo>
                    <a:pt x="1221835" y="235246"/>
                  </a:lnTo>
                  <a:lnTo>
                    <a:pt x="1218775" y="395515"/>
                  </a:lnTo>
                  <a:cubicBezTo>
                    <a:pt x="1215848" y="549030"/>
                    <a:pt x="1215111" y="556943"/>
                    <a:pt x="1201303" y="583279"/>
                  </a:cubicBezTo>
                  <a:cubicBezTo>
                    <a:pt x="1181636" y="620792"/>
                    <a:pt x="1160241" y="642532"/>
                    <a:pt x="1124087" y="661744"/>
                  </a:cubicBezTo>
                  <a:lnTo>
                    <a:pt x="1093541" y="677977"/>
                  </a:lnTo>
                  <a:lnTo>
                    <a:pt x="698268" y="681662"/>
                  </a:lnTo>
                  <a:lnTo>
                    <a:pt x="701655" y="701199"/>
                  </a:lnTo>
                  <a:cubicBezTo>
                    <a:pt x="703519" y="711946"/>
                    <a:pt x="711162" y="771095"/>
                    <a:pt x="718640" y="832642"/>
                  </a:cubicBezTo>
                  <a:lnTo>
                    <a:pt x="732236" y="944545"/>
                  </a:lnTo>
                  <a:lnTo>
                    <a:pt x="583434" y="1093352"/>
                  </a:lnTo>
                  <a:lnTo>
                    <a:pt x="434632" y="944545"/>
                  </a:lnTo>
                  <a:lnTo>
                    <a:pt x="448151" y="832642"/>
                  </a:lnTo>
                  <a:cubicBezTo>
                    <a:pt x="455588" y="771095"/>
                    <a:pt x="463208" y="713006"/>
                    <a:pt x="465085" y="703555"/>
                  </a:cubicBezTo>
                  <a:cubicBezTo>
                    <a:pt x="468456" y="686587"/>
                    <a:pt x="468202" y="686423"/>
                    <a:pt x="445020" y="690561"/>
                  </a:cubicBezTo>
                  <a:cubicBezTo>
                    <a:pt x="401152" y="698389"/>
                    <a:pt x="328433" y="730137"/>
                    <a:pt x="285819" y="760067"/>
                  </a:cubicBezTo>
                  <a:cubicBezTo>
                    <a:pt x="205970" y="816146"/>
                    <a:pt x="145918" y="896611"/>
                    <a:pt x="114548" y="989559"/>
                  </a:cubicBezTo>
                  <a:lnTo>
                    <a:pt x="98053" y="1038435"/>
                  </a:lnTo>
                  <a:lnTo>
                    <a:pt x="97903" y="1268608"/>
                  </a:lnTo>
                  <a:cubicBezTo>
                    <a:pt x="97762" y="1491666"/>
                    <a:pt x="98145" y="1499286"/>
                    <a:pt x="110353" y="1515657"/>
                  </a:cubicBezTo>
                  <a:cubicBezTo>
                    <a:pt x="134269" y="1547708"/>
                    <a:pt x="153256" y="1557198"/>
                    <a:pt x="198754" y="1559761"/>
                  </a:cubicBezTo>
                  <a:lnTo>
                    <a:pt x="241322" y="1562162"/>
                  </a:lnTo>
                  <a:lnTo>
                    <a:pt x="241322" y="1023154"/>
                  </a:lnTo>
                  <a:lnTo>
                    <a:pt x="339068" y="1023154"/>
                  </a:lnTo>
                  <a:lnTo>
                    <a:pt x="339068" y="1691749"/>
                  </a:lnTo>
                  <a:cubicBezTo>
                    <a:pt x="339068" y="2150496"/>
                    <a:pt x="341112" y="2365726"/>
                    <a:pt x="345584" y="2377526"/>
                  </a:cubicBezTo>
                  <a:cubicBezTo>
                    <a:pt x="354185" y="2400224"/>
                    <a:pt x="374476" y="2421791"/>
                    <a:pt x="397104" y="2432274"/>
                  </a:cubicBezTo>
                  <a:cubicBezTo>
                    <a:pt x="421450" y="2443542"/>
                    <a:pt x="470102" y="2439340"/>
                    <a:pt x="490347" y="2424215"/>
                  </a:cubicBezTo>
                  <a:close/>
                  <a:moveTo>
                    <a:pt x="2196254" y="1948058"/>
                  </a:moveTo>
                  <a:cubicBezTo>
                    <a:pt x="2196254" y="1945979"/>
                    <a:pt x="2188704" y="1935612"/>
                    <a:pt x="2179445" y="1924990"/>
                  </a:cubicBezTo>
                  <a:cubicBezTo>
                    <a:pt x="2170209" y="1914391"/>
                    <a:pt x="2158525" y="1899705"/>
                    <a:pt x="2153492" y="1892339"/>
                  </a:cubicBezTo>
                  <a:cubicBezTo>
                    <a:pt x="2146103" y="1881579"/>
                    <a:pt x="2120797" y="1873128"/>
                    <a:pt x="2023035" y="1848744"/>
                  </a:cubicBezTo>
                  <a:lnTo>
                    <a:pt x="1901744" y="1818518"/>
                  </a:lnTo>
                  <a:lnTo>
                    <a:pt x="1904007" y="1863406"/>
                  </a:lnTo>
                  <a:cubicBezTo>
                    <a:pt x="1905901" y="1900929"/>
                    <a:pt x="1908764" y="1910974"/>
                    <a:pt x="1921440" y="1924620"/>
                  </a:cubicBezTo>
                  <a:cubicBezTo>
                    <a:pt x="1929798" y="1933603"/>
                    <a:pt x="1942105" y="1943209"/>
                    <a:pt x="1948824" y="1946003"/>
                  </a:cubicBezTo>
                  <a:cubicBezTo>
                    <a:pt x="1962886" y="1951822"/>
                    <a:pt x="2196254" y="1953761"/>
                    <a:pt x="2196254" y="1948058"/>
                  </a:cubicBezTo>
                  <a:close/>
                  <a:moveTo>
                    <a:pt x="2540984" y="1928500"/>
                  </a:moveTo>
                  <a:cubicBezTo>
                    <a:pt x="2596122" y="1902684"/>
                    <a:pt x="2631772" y="1867609"/>
                    <a:pt x="2659111" y="1812283"/>
                  </a:cubicBezTo>
                  <a:cubicBezTo>
                    <a:pt x="2680676" y="1768664"/>
                    <a:pt x="2681923" y="1762892"/>
                    <a:pt x="2681923" y="1707450"/>
                  </a:cubicBezTo>
                  <a:cubicBezTo>
                    <a:pt x="2681923" y="1652009"/>
                    <a:pt x="2680676" y="1646236"/>
                    <a:pt x="2659111" y="1602618"/>
                  </a:cubicBezTo>
                  <a:cubicBezTo>
                    <a:pt x="2631634" y="1546992"/>
                    <a:pt x="2596261" y="1512379"/>
                    <a:pt x="2539460" y="1485454"/>
                  </a:cubicBezTo>
                  <a:cubicBezTo>
                    <a:pt x="2502562" y="1467975"/>
                    <a:pt x="2493096" y="1466127"/>
                    <a:pt x="2440613" y="1466127"/>
                  </a:cubicBezTo>
                  <a:cubicBezTo>
                    <a:pt x="2388130" y="1466127"/>
                    <a:pt x="2378686" y="1467975"/>
                    <a:pt x="2341766" y="1485454"/>
                  </a:cubicBezTo>
                  <a:cubicBezTo>
                    <a:pt x="2284988" y="1512379"/>
                    <a:pt x="2249614" y="1546992"/>
                    <a:pt x="2222115" y="1602618"/>
                  </a:cubicBezTo>
                  <a:cubicBezTo>
                    <a:pt x="2200595" y="1646190"/>
                    <a:pt x="2199302" y="1652055"/>
                    <a:pt x="2199302" y="1707127"/>
                  </a:cubicBezTo>
                  <a:cubicBezTo>
                    <a:pt x="2199302" y="1759982"/>
                    <a:pt x="2201126" y="1769334"/>
                    <a:pt x="2218651" y="1806303"/>
                  </a:cubicBezTo>
                  <a:cubicBezTo>
                    <a:pt x="2243195" y="1858119"/>
                    <a:pt x="2278130" y="1896057"/>
                    <a:pt x="2323732" y="1920348"/>
                  </a:cubicBezTo>
                  <a:cubicBezTo>
                    <a:pt x="2371851" y="1946003"/>
                    <a:pt x="2398174" y="1951798"/>
                    <a:pt x="2454351" y="1949120"/>
                  </a:cubicBezTo>
                  <a:cubicBezTo>
                    <a:pt x="2491017" y="1947388"/>
                    <a:pt x="2510551" y="1942724"/>
                    <a:pt x="2540984" y="1928500"/>
                  </a:cubicBezTo>
                  <a:close/>
                  <a:moveTo>
                    <a:pt x="2101563" y="1707520"/>
                  </a:moveTo>
                  <a:cubicBezTo>
                    <a:pt x="2101563" y="1656142"/>
                    <a:pt x="2100108" y="1646929"/>
                    <a:pt x="2092396" y="1649238"/>
                  </a:cubicBezTo>
                  <a:cubicBezTo>
                    <a:pt x="2087363" y="1650739"/>
                    <a:pt x="2042684" y="1662054"/>
                    <a:pt x="1993134" y="1674361"/>
                  </a:cubicBezTo>
                  <a:cubicBezTo>
                    <a:pt x="1870273" y="1704887"/>
                    <a:pt x="1870735" y="1709967"/>
                    <a:pt x="1999229" y="1742803"/>
                  </a:cubicBezTo>
                  <a:cubicBezTo>
                    <a:pt x="2052151" y="1756334"/>
                    <a:pt x="2096830" y="1767649"/>
                    <a:pt x="2098515" y="1767972"/>
                  </a:cubicBezTo>
                  <a:cubicBezTo>
                    <a:pt x="2100201" y="1768295"/>
                    <a:pt x="2101563" y="1741094"/>
                    <a:pt x="2101563" y="1707520"/>
                  </a:cubicBezTo>
                  <a:close/>
                  <a:moveTo>
                    <a:pt x="608003" y="928365"/>
                  </a:moveTo>
                  <a:lnTo>
                    <a:pt x="630033" y="906854"/>
                  </a:lnTo>
                  <a:lnTo>
                    <a:pt x="616150" y="798541"/>
                  </a:lnTo>
                  <a:cubicBezTo>
                    <a:pt x="608514" y="738969"/>
                    <a:pt x="602153" y="688167"/>
                    <a:pt x="602014" y="685645"/>
                  </a:cubicBezTo>
                  <a:cubicBezTo>
                    <a:pt x="601875" y="683124"/>
                    <a:pt x="593515" y="681062"/>
                    <a:pt x="583434" y="681062"/>
                  </a:cubicBezTo>
                  <a:cubicBezTo>
                    <a:pt x="573355" y="681062"/>
                    <a:pt x="564992" y="683124"/>
                    <a:pt x="564853" y="685645"/>
                  </a:cubicBezTo>
                  <a:cubicBezTo>
                    <a:pt x="564715" y="688165"/>
                    <a:pt x="558363" y="738905"/>
                    <a:pt x="550736" y="798398"/>
                  </a:cubicBezTo>
                  <a:lnTo>
                    <a:pt x="536871" y="906570"/>
                  </a:lnTo>
                  <a:lnTo>
                    <a:pt x="558522" y="928222"/>
                  </a:lnTo>
                  <a:cubicBezTo>
                    <a:pt x="570432" y="940133"/>
                    <a:pt x="581480" y="949877"/>
                    <a:pt x="583073" y="949877"/>
                  </a:cubicBezTo>
                  <a:cubicBezTo>
                    <a:pt x="584669" y="949877"/>
                    <a:pt x="595886" y="940197"/>
                    <a:pt x="608003" y="928363"/>
                  </a:cubicBezTo>
                  <a:close/>
                  <a:moveTo>
                    <a:pt x="683800" y="559973"/>
                  </a:moveTo>
                  <a:cubicBezTo>
                    <a:pt x="738927" y="534176"/>
                    <a:pt x="774589" y="499094"/>
                    <a:pt x="801930" y="443773"/>
                  </a:cubicBezTo>
                  <a:cubicBezTo>
                    <a:pt x="823488" y="400147"/>
                    <a:pt x="824745" y="394377"/>
                    <a:pt x="824745" y="338931"/>
                  </a:cubicBezTo>
                  <a:cubicBezTo>
                    <a:pt x="824745" y="283487"/>
                    <a:pt x="823488" y="277717"/>
                    <a:pt x="801930" y="234089"/>
                  </a:cubicBezTo>
                  <a:cubicBezTo>
                    <a:pt x="774450" y="178483"/>
                    <a:pt x="739075" y="143849"/>
                    <a:pt x="682279" y="116939"/>
                  </a:cubicBezTo>
                  <a:cubicBezTo>
                    <a:pt x="645374" y="99455"/>
                    <a:pt x="635921" y="97605"/>
                    <a:pt x="583434" y="97605"/>
                  </a:cubicBezTo>
                  <a:cubicBezTo>
                    <a:pt x="530946" y="97605"/>
                    <a:pt x="521493" y="99455"/>
                    <a:pt x="484589" y="116939"/>
                  </a:cubicBezTo>
                  <a:cubicBezTo>
                    <a:pt x="427793" y="143849"/>
                    <a:pt x="392417" y="178483"/>
                    <a:pt x="364938" y="234089"/>
                  </a:cubicBezTo>
                  <a:cubicBezTo>
                    <a:pt x="343404" y="277661"/>
                    <a:pt x="342123" y="283536"/>
                    <a:pt x="342123" y="338612"/>
                  </a:cubicBezTo>
                  <a:cubicBezTo>
                    <a:pt x="342123" y="391458"/>
                    <a:pt x="343947" y="400824"/>
                    <a:pt x="361454" y="437778"/>
                  </a:cubicBezTo>
                  <a:cubicBezTo>
                    <a:pt x="386003" y="489599"/>
                    <a:pt x="420954" y="527533"/>
                    <a:pt x="466537" y="551831"/>
                  </a:cubicBezTo>
                  <a:cubicBezTo>
                    <a:pt x="514659" y="577481"/>
                    <a:pt x="540992" y="583281"/>
                    <a:pt x="597172" y="580609"/>
                  </a:cubicBezTo>
                  <a:cubicBezTo>
                    <a:pt x="633841" y="578864"/>
                    <a:pt x="653370" y="574213"/>
                    <a:pt x="683798" y="559973"/>
                  </a:cubicBezTo>
                  <a:close/>
                  <a:moveTo>
                    <a:pt x="1097915" y="560403"/>
                  </a:moveTo>
                  <a:cubicBezTo>
                    <a:pt x="1116100" y="542202"/>
                    <a:pt x="1117945" y="536774"/>
                    <a:pt x="1120041" y="495270"/>
                  </a:cubicBezTo>
                  <a:lnTo>
                    <a:pt x="1122327" y="449993"/>
                  </a:lnTo>
                  <a:lnTo>
                    <a:pt x="1001032" y="480229"/>
                  </a:lnTo>
                  <a:cubicBezTo>
                    <a:pt x="903266" y="504599"/>
                    <a:pt x="877959" y="513057"/>
                    <a:pt x="870573" y="523833"/>
                  </a:cubicBezTo>
                  <a:cubicBezTo>
                    <a:pt x="865533" y="531186"/>
                    <a:pt x="853849" y="545878"/>
                    <a:pt x="844609" y="556482"/>
                  </a:cubicBezTo>
                  <a:cubicBezTo>
                    <a:pt x="835368" y="567085"/>
                    <a:pt x="827809" y="577617"/>
                    <a:pt x="827809" y="579887"/>
                  </a:cubicBezTo>
                  <a:cubicBezTo>
                    <a:pt x="827809" y="582157"/>
                    <a:pt x="884120" y="583168"/>
                    <a:pt x="952943" y="582136"/>
                  </a:cubicBezTo>
                  <a:lnTo>
                    <a:pt x="1078078" y="580258"/>
                  </a:lnTo>
                  <a:close/>
                  <a:moveTo>
                    <a:pt x="1030936" y="372027"/>
                  </a:moveTo>
                  <a:cubicBezTo>
                    <a:pt x="1104200" y="353824"/>
                    <a:pt x="1121046" y="347636"/>
                    <a:pt x="1121046" y="338933"/>
                  </a:cubicBezTo>
                  <a:cubicBezTo>
                    <a:pt x="1121046" y="330230"/>
                    <a:pt x="1104200" y="324044"/>
                    <a:pt x="1030936" y="305841"/>
                  </a:cubicBezTo>
                  <a:cubicBezTo>
                    <a:pt x="981376" y="293527"/>
                    <a:pt x="936702" y="282222"/>
                    <a:pt x="931661" y="280719"/>
                  </a:cubicBezTo>
                  <a:cubicBezTo>
                    <a:pt x="923945" y="278416"/>
                    <a:pt x="922497" y="287616"/>
                    <a:pt x="922497" y="338933"/>
                  </a:cubicBezTo>
                  <a:cubicBezTo>
                    <a:pt x="922497" y="390250"/>
                    <a:pt x="923945" y="399450"/>
                    <a:pt x="931661" y="397147"/>
                  </a:cubicBezTo>
                  <a:cubicBezTo>
                    <a:pt x="936702" y="395644"/>
                    <a:pt x="981374" y="384339"/>
                    <a:pt x="1030936" y="372025"/>
                  </a:cubicBezTo>
                  <a:close/>
                </a:path>
              </a:pathLst>
            </a:custGeom>
            <a:solidFill>
              <a:srgbClr val="03556D"/>
            </a:solidFill>
            <a:ln w="6108" cap="flat">
              <a:noFill/>
              <a:prstDash val="solid"/>
              <a:miter/>
            </a:ln>
          </p:spPr>
          <p:txBody>
            <a:bodyPr rtlCol="0" anchor="ctr"/>
            <a:lstStyle/>
            <a:p>
              <a:endParaRPr lang="en-US" dirty="0"/>
            </a:p>
          </p:txBody>
        </p:sp>
      </p:grpSp>
      <p:grpSp>
        <p:nvGrpSpPr>
          <p:cNvPr id="62" name="Group 61">
            <a:extLst>
              <a:ext uri="{FF2B5EF4-FFF2-40B4-BE49-F238E27FC236}">
                <a16:creationId xmlns:a16="http://schemas.microsoft.com/office/drawing/2014/main" id="{D422D75C-66FB-4E58-9AEC-BF1E9C76E6C9}"/>
              </a:ext>
            </a:extLst>
          </p:cNvPr>
          <p:cNvGrpSpPr/>
          <p:nvPr/>
        </p:nvGrpSpPr>
        <p:grpSpPr>
          <a:xfrm>
            <a:off x="6358563" y="2643185"/>
            <a:ext cx="1005840" cy="1005840"/>
            <a:chOff x="4806964" y="2732204"/>
            <a:chExt cx="1005840" cy="1005840"/>
          </a:xfrm>
        </p:grpSpPr>
        <p:sp>
          <p:nvSpPr>
            <p:cNvPr id="63" name="Oval 62">
              <a:extLst>
                <a:ext uri="{FF2B5EF4-FFF2-40B4-BE49-F238E27FC236}">
                  <a16:creationId xmlns:a16="http://schemas.microsoft.com/office/drawing/2014/main" id="{2D495361-86DB-4730-AB7C-13B79FB6A79B}"/>
                </a:ext>
              </a:extLst>
            </p:cNvPr>
            <p:cNvSpPr/>
            <p:nvPr/>
          </p:nvSpPr>
          <p:spPr bwMode="auto">
            <a:xfrm>
              <a:off x="4806964" y="2732204"/>
              <a:ext cx="1005840" cy="1005840"/>
            </a:xfrm>
            <a:prstGeom prst="ellipse">
              <a:avLst/>
            </a:prstGeom>
            <a:solidFill>
              <a:srgbClr val="F2F2F2"/>
            </a:solidFill>
            <a:ln w="76200">
              <a:solidFill>
                <a:srgbClr val="07AADB"/>
              </a:solidFill>
              <a:round/>
              <a:headEnd/>
              <a:tailEnd/>
            </a:ln>
          </p:spPr>
          <p:txBody>
            <a:bodyPr wrap="square" lIns="0" tIns="0" rIns="0" bIns="0" rtlCol="0" anchor="ctr">
              <a:noAutofit/>
            </a:bodyPr>
            <a:lstStyle/>
            <a:p>
              <a:pPr algn="l"/>
              <a:endParaRPr lang="en-US" dirty="0">
                <a:solidFill>
                  <a:schemeClr val="tx2"/>
                </a:solidFill>
              </a:endParaRPr>
            </a:p>
          </p:txBody>
        </p:sp>
        <p:sp>
          <p:nvSpPr>
            <p:cNvPr id="64" name="Graphic 11">
              <a:extLst>
                <a:ext uri="{FF2B5EF4-FFF2-40B4-BE49-F238E27FC236}">
                  <a16:creationId xmlns:a16="http://schemas.microsoft.com/office/drawing/2014/main" id="{1488DD4F-E766-4AC2-A413-B8058D0679CC}"/>
                </a:ext>
              </a:extLst>
            </p:cNvPr>
            <p:cNvSpPr/>
            <p:nvPr/>
          </p:nvSpPr>
          <p:spPr>
            <a:xfrm>
              <a:off x="5081284" y="3006524"/>
              <a:ext cx="457200" cy="457200"/>
            </a:xfrm>
            <a:custGeom>
              <a:avLst/>
              <a:gdLst>
                <a:gd name="connsiteX0" fmla="*/ 412334 w 3124190"/>
                <a:gd name="connsiteY0" fmla="*/ 3121590 h 3126924"/>
                <a:gd name="connsiteX1" fmla="*/ 311882 w 3124190"/>
                <a:gd name="connsiteY1" fmla="*/ 3033960 h 3126924"/>
                <a:gd name="connsiteX2" fmla="*/ 340971 w 3124190"/>
                <a:gd name="connsiteY2" fmla="*/ 2871262 h 3126924"/>
                <a:gd name="connsiteX3" fmla="*/ 557183 w 3124190"/>
                <a:gd name="connsiteY3" fmla="*/ 2870292 h 3126924"/>
                <a:gd name="connsiteX4" fmla="*/ 462776 w 3124190"/>
                <a:gd name="connsiteY4" fmla="*/ 3124315 h 3126924"/>
                <a:gd name="connsiteX5" fmla="*/ 412334 w 3124190"/>
                <a:gd name="connsiteY5" fmla="*/ 3121613 h 3126924"/>
                <a:gd name="connsiteX6" fmla="*/ 495464 w 3124190"/>
                <a:gd name="connsiteY6" fmla="*/ 2995052 h 3126924"/>
                <a:gd name="connsiteX7" fmla="*/ 407261 w 3124190"/>
                <a:gd name="connsiteY7" fmla="*/ 2953950 h 3126924"/>
                <a:gd name="connsiteX8" fmla="*/ 412493 w 3124190"/>
                <a:gd name="connsiteY8" fmla="*/ 3006574 h 3126924"/>
                <a:gd name="connsiteX9" fmla="*/ 495462 w 3124190"/>
                <a:gd name="connsiteY9" fmla="*/ 2995052 h 3126924"/>
                <a:gd name="connsiteX10" fmla="*/ 908747 w 3124190"/>
                <a:gd name="connsiteY10" fmla="*/ 2997107 h 3126924"/>
                <a:gd name="connsiteX11" fmla="*/ 960237 w 3124190"/>
                <a:gd name="connsiteY11" fmla="*/ 2715052 h 3126924"/>
                <a:gd name="connsiteX12" fmla="*/ 1199701 w 3124190"/>
                <a:gd name="connsiteY12" fmla="*/ 2430202 h 3126924"/>
                <a:gd name="connsiteX13" fmla="*/ 1249249 w 3124190"/>
                <a:gd name="connsiteY13" fmla="*/ 2397921 h 3126924"/>
                <a:gd name="connsiteX14" fmla="*/ 1207602 w 3124190"/>
                <a:gd name="connsiteY14" fmla="*/ 2381203 h 3126924"/>
                <a:gd name="connsiteX15" fmla="*/ 885755 w 3124190"/>
                <a:gd name="connsiteY15" fmla="*/ 2045346 h 3126924"/>
                <a:gd name="connsiteX16" fmla="*/ 864237 w 3124190"/>
                <a:gd name="connsiteY16" fmla="*/ 1961226 h 3126924"/>
                <a:gd name="connsiteX17" fmla="*/ 856384 w 3124190"/>
                <a:gd name="connsiteY17" fmla="*/ 1917261 h 3126924"/>
                <a:gd name="connsiteX18" fmla="*/ 824597 w 3124190"/>
                <a:gd name="connsiteY18" fmla="*/ 1917261 h 3126924"/>
                <a:gd name="connsiteX19" fmla="*/ 575389 w 3124190"/>
                <a:gd name="connsiteY19" fmla="*/ 1765900 h 3126924"/>
                <a:gd name="connsiteX20" fmla="*/ 555932 w 3124190"/>
                <a:gd name="connsiteY20" fmla="*/ 1663330 h 3126924"/>
                <a:gd name="connsiteX21" fmla="*/ 578010 w 3124190"/>
                <a:gd name="connsiteY21" fmla="*/ 1557366 h 3126924"/>
                <a:gd name="connsiteX22" fmla="*/ 600088 w 3124190"/>
                <a:gd name="connsiteY22" fmla="*/ 1512893 h 3126924"/>
                <a:gd name="connsiteX23" fmla="*/ 585625 w 3124190"/>
                <a:gd name="connsiteY23" fmla="*/ 1467358 h 3126924"/>
                <a:gd name="connsiteX24" fmla="*/ 552877 w 3124190"/>
                <a:gd name="connsiteY24" fmla="*/ 1262610 h 3126924"/>
                <a:gd name="connsiteX25" fmla="*/ 552877 w 3124190"/>
                <a:gd name="connsiteY25" fmla="*/ 1208300 h 3126924"/>
                <a:gd name="connsiteX26" fmla="*/ 329892 w 3124190"/>
                <a:gd name="connsiteY26" fmla="*/ 1211626 h 3126924"/>
                <a:gd name="connsiteX27" fmla="*/ 293237 w 3124190"/>
                <a:gd name="connsiteY27" fmla="*/ 1282953 h 3126924"/>
                <a:gd name="connsiteX28" fmla="*/ 196822 w 3124190"/>
                <a:gd name="connsiteY28" fmla="*/ 1398131 h 3126924"/>
                <a:gd name="connsiteX29" fmla="*/ 18488 w 3124190"/>
                <a:gd name="connsiteY29" fmla="*/ 1340242 h 3126924"/>
                <a:gd name="connsiteX30" fmla="*/ 0 w 3124190"/>
                <a:gd name="connsiteY30" fmla="*/ 1310339 h 3126924"/>
                <a:gd name="connsiteX31" fmla="*/ 0 w 3124190"/>
                <a:gd name="connsiteY31" fmla="*/ 105825 h 3126924"/>
                <a:gd name="connsiteX32" fmla="*/ 17209 w 3124190"/>
                <a:gd name="connsiteY32" fmla="*/ 76546 h 3126924"/>
                <a:gd name="connsiteX33" fmla="*/ 107360 w 3124190"/>
                <a:gd name="connsiteY33" fmla="*/ 4895 h 3126924"/>
                <a:gd name="connsiteX34" fmla="*/ 816608 w 3124190"/>
                <a:gd name="connsiteY34" fmla="*/ 323 h 3126924"/>
                <a:gd name="connsiteX35" fmla="*/ 1502858 w 3124190"/>
                <a:gd name="connsiteY35" fmla="*/ 1962 h 3126924"/>
                <a:gd name="connsiteX36" fmla="*/ 1527293 w 3124190"/>
                <a:gd name="connsiteY36" fmla="*/ 15147 h 3126924"/>
                <a:gd name="connsiteX37" fmla="*/ 1597055 w 3124190"/>
                <a:gd name="connsiteY37" fmla="*/ 90539 h 3126924"/>
                <a:gd name="connsiteX38" fmla="*/ 1609632 w 3124190"/>
                <a:gd name="connsiteY38" fmla="*/ 336434 h 3126924"/>
                <a:gd name="connsiteX39" fmla="*/ 1609765 w 3124190"/>
                <a:gd name="connsiteY39" fmla="*/ 554851 h 3126924"/>
                <a:gd name="connsiteX40" fmla="*/ 1767803 w 3124190"/>
                <a:gd name="connsiteY40" fmla="*/ 554851 h 3126924"/>
                <a:gd name="connsiteX41" fmla="*/ 1980097 w 3124190"/>
                <a:gd name="connsiteY41" fmla="*/ 564110 h 3126924"/>
                <a:gd name="connsiteX42" fmla="*/ 2560257 w 3124190"/>
                <a:gd name="connsiteY42" fmla="*/ 1148703 h 3126924"/>
                <a:gd name="connsiteX43" fmla="*/ 2529848 w 3124190"/>
                <a:gd name="connsiteY43" fmla="*/ 1488070 h 3126924"/>
                <a:gd name="connsiteX44" fmla="*/ 2520589 w 3124190"/>
                <a:gd name="connsiteY44" fmla="*/ 1514024 h 3126924"/>
                <a:gd name="connsiteX45" fmla="*/ 2763146 w 3124190"/>
                <a:gd name="connsiteY45" fmla="*/ 1514163 h 3126924"/>
                <a:gd name="connsiteX46" fmla="*/ 3033204 w 3124190"/>
                <a:gd name="connsiteY46" fmla="*/ 1526747 h 3126924"/>
                <a:gd name="connsiteX47" fmla="*/ 3108592 w 3124190"/>
                <a:gd name="connsiteY47" fmla="*/ 1596505 h 3126924"/>
                <a:gd name="connsiteX48" fmla="*/ 3123462 w 3124190"/>
                <a:gd name="connsiteY48" fmla="*/ 2106167 h 3126924"/>
                <a:gd name="connsiteX49" fmla="*/ 3078760 w 3124190"/>
                <a:gd name="connsiteY49" fmla="*/ 2678453 h 3126924"/>
                <a:gd name="connsiteX50" fmla="*/ 2841167 w 3124190"/>
                <a:gd name="connsiteY50" fmla="*/ 2723919 h 3126924"/>
                <a:gd name="connsiteX51" fmla="*/ 2694131 w 3124190"/>
                <a:gd name="connsiteY51" fmla="*/ 2724127 h 3126924"/>
                <a:gd name="connsiteX52" fmla="*/ 2648321 w 3124190"/>
                <a:gd name="connsiteY52" fmla="*/ 2786495 h 3126924"/>
                <a:gd name="connsiteX53" fmla="*/ 2581522 w 3124190"/>
                <a:gd name="connsiteY53" fmla="*/ 2872255 h 3126924"/>
                <a:gd name="connsiteX54" fmla="*/ 2339149 w 3124190"/>
                <a:gd name="connsiteY54" fmla="*/ 2848378 h 3126924"/>
                <a:gd name="connsiteX55" fmla="*/ 2319639 w 3124190"/>
                <a:gd name="connsiteY55" fmla="*/ 2771763 h 3126924"/>
                <a:gd name="connsiteX56" fmla="*/ 2316845 w 3124190"/>
                <a:gd name="connsiteY56" fmla="*/ 2723711 h 3126924"/>
                <a:gd name="connsiteX57" fmla="*/ 2166415 w 3124190"/>
                <a:gd name="connsiteY57" fmla="*/ 2723711 h 3126924"/>
                <a:gd name="connsiteX58" fmla="*/ 2181262 w 3124190"/>
                <a:gd name="connsiteY58" fmla="*/ 2767330 h 3126924"/>
                <a:gd name="connsiteX59" fmla="*/ 2214580 w 3124190"/>
                <a:gd name="connsiteY59" fmla="*/ 3017635 h 3126924"/>
                <a:gd name="connsiteX60" fmla="*/ 2214580 w 3124190"/>
                <a:gd name="connsiteY60" fmla="*/ 3126924 h 3126924"/>
                <a:gd name="connsiteX61" fmla="*/ 906004 w 3124190"/>
                <a:gd name="connsiteY61" fmla="*/ 3126924 h 3126924"/>
                <a:gd name="connsiteX62" fmla="*/ 1432607 w 3124190"/>
                <a:gd name="connsiteY62" fmla="*/ 3024747 h 3126924"/>
                <a:gd name="connsiteX63" fmla="*/ 1392902 w 3124190"/>
                <a:gd name="connsiteY63" fmla="*/ 2980320 h 3126924"/>
                <a:gd name="connsiteX64" fmla="*/ 1353197 w 3124190"/>
                <a:gd name="connsiteY64" fmla="*/ 2940304 h 3126924"/>
                <a:gd name="connsiteX65" fmla="*/ 1386398 w 3124190"/>
                <a:gd name="connsiteY65" fmla="*/ 2824480 h 3126924"/>
                <a:gd name="connsiteX66" fmla="*/ 1417920 w 3124190"/>
                <a:gd name="connsiteY66" fmla="*/ 2706993 h 3126924"/>
                <a:gd name="connsiteX67" fmla="*/ 1361805 w 3124190"/>
                <a:gd name="connsiteY67" fmla="*/ 2746132 h 3126924"/>
                <a:gd name="connsiteX68" fmla="*/ 1288502 w 3124190"/>
                <a:gd name="connsiteY68" fmla="*/ 2801135 h 3126924"/>
                <a:gd name="connsiteX69" fmla="*/ 1269635 w 3124190"/>
                <a:gd name="connsiteY69" fmla="*/ 2815289 h 3126924"/>
                <a:gd name="connsiteX70" fmla="*/ 1252383 w 3124190"/>
                <a:gd name="connsiteY70" fmla="*/ 2674804 h 3126924"/>
                <a:gd name="connsiteX71" fmla="*/ 1230678 w 3124190"/>
                <a:gd name="connsiteY71" fmla="*/ 2534319 h 3126924"/>
                <a:gd name="connsiteX72" fmla="*/ 1138652 w 3124190"/>
                <a:gd name="connsiteY72" fmla="*/ 2617377 h 3126924"/>
                <a:gd name="connsiteX73" fmla="*/ 1007156 w 3124190"/>
                <a:gd name="connsiteY73" fmla="*/ 2947623 h 3126924"/>
                <a:gd name="connsiteX74" fmla="*/ 1006936 w 3124190"/>
                <a:gd name="connsiteY74" fmla="*/ 3019390 h 3126924"/>
                <a:gd name="connsiteX75" fmla="*/ 1221648 w 3124190"/>
                <a:gd name="connsiteY75" fmla="*/ 3029181 h 3126924"/>
                <a:gd name="connsiteX76" fmla="*/ 1432605 w 3124190"/>
                <a:gd name="connsiteY76" fmla="*/ 3024747 h 3126924"/>
                <a:gd name="connsiteX77" fmla="*/ 2113355 w 3124190"/>
                <a:gd name="connsiteY77" fmla="*/ 2965034 h 3126924"/>
                <a:gd name="connsiteX78" fmla="*/ 2022559 w 3124190"/>
                <a:gd name="connsiteY78" fmla="*/ 2669331 h 3126924"/>
                <a:gd name="connsiteX79" fmla="*/ 1894009 w 3124190"/>
                <a:gd name="connsiteY79" fmla="*/ 2534319 h 3126924"/>
                <a:gd name="connsiteX80" fmla="*/ 1869426 w 3124190"/>
                <a:gd name="connsiteY80" fmla="*/ 2674804 h 3126924"/>
                <a:gd name="connsiteX81" fmla="*/ 1852173 w 3124190"/>
                <a:gd name="connsiteY81" fmla="*/ 2815289 h 3126924"/>
                <a:gd name="connsiteX82" fmla="*/ 1833306 w 3124190"/>
                <a:gd name="connsiteY82" fmla="*/ 2801135 h 3126924"/>
                <a:gd name="connsiteX83" fmla="*/ 1760004 w 3124190"/>
                <a:gd name="connsiteY83" fmla="*/ 2746132 h 3126924"/>
                <a:gd name="connsiteX84" fmla="*/ 1703888 w 3124190"/>
                <a:gd name="connsiteY84" fmla="*/ 2706993 h 3126924"/>
                <a:gd name="connsiteX85" fmla="*/ 1735411 w 3124190"/>
                <a:gd name="connsiteY85" fmla="*/ 2824480 h 3126924"/>
                <a:gd name="connsiteX86" fmla="*/ 1768611 w 3124190"/>
                <a:gd name="connsiteY86" fmla="*/ 2940304 h 3126924"/>
                <a:gd name="connsiteX87" fmla="*/ 1728906 w 3124190"/>
                <a:gd name="connsiteY87" fmla="*/ 2980320 h 3126924"/>
                <a:gd name="connsiteX88" fmla="*/ 1689201 w 3124190"/>
                <a:gd name="connsiteY88" fmla="*/ 3024840 h 3126924"/>
                <a:gd name="connsiteX89" fmla="*/ 1901495 w 3124190"/>
                <a:gd name="connsiteY89" fmla="*/ 3027726 h 3126924"/>
                <a:gd name="connsiteX90" fmla="*/ 2113794 w 3124190"/>
                <a:gd name="connsiteY90" fmla="*/ 3026133 h 3126924"/>
                <a:gd name="connsiteX91" fmla="*/ 1608412 w 3124190"/>
                <a:gd name="connsiteY91" fmla="*/ 2960300 h 3126924"/>
                <a:gd name="connsiteX92" fmla="*/ 1652551 w 3124190"/>
                <a:gd name="connsiteY92" fmla="*/ 2906706 h 3126924"/>
                <a:gd name="connsiteX93" fmla="*/ 1624700 w 3124190"/>
                <a:gd name="connsiteY93" fmla="*/ 2799934 h 3126924"/>
                <a:gd name="connsiteX94" fmla="*/ 1560914 w 3124190"/>
                <a:gd name="connsiteY94" fmla="*/ 2619848 h 3126924"/>
                <a:gd name="connsiteX95" fmla="*/ 1497129 w 3124190"/>
                <a:gd name="connsiteY95" fmla="*/ 2799934 h 3126924"/>
                <a:gd name="connsiteX96" fmla="*/ 1469278 w 3124190"/>
                <a:gd name="connsiteY96" fmla="*/ 2906706 h 3126924"/>
                <a:gd name="connsiteX97" fmla="*/ 1560917 w 3124190"/>
                <a:gd name="connsiteY97" fmla="*/ 3004750 h 3126924"/>
                <a:gd name="connsiteX98" fmla="*/ 1608415 w 3124190"/>
                <a:gd name="connsiteY98" fmla="*/ 2960300 h 3126924"/>
                <a:gd name="connsiteX99" fmla="*/ 2492534 w 3124190"/>
                <a:gd name="connsiteY99" fmla="*/ 2817575 h 3126924"/>
                <a:gd name="connsiteX100" fmla="*/ 2575657 w 3124190"/>
                <a:gd name="connsiteY100" fmla="*/ 2716761 h 3126924"/>
                <a:gd name="connsiteX101" fmla="*/ 2648621 w 3124190"/>
                <a:gd name="connsiteY101" fmla="*/ 2619848 h 3126924"/>
                <a:gd name="connsiteX102" fmla="*/ 2819924 w 3124190"/>
                <a:gd name="connsiteY102" fmla="*/ 2619848 h 3126924"/>
                <a:gd name="connsiteX103" fmla="*/ 3002795 w 3124190"/>
                <a:gd name="connsiteY103" fmla="*/ 2613660 h 3126924"/>
                <a:gd name="connsiteX104" fmla="*/ 3020689 w 3124190"/>
                <a:gd name="connsiteY104" fmla="*/ 2584657 h 3126924"/>
                <a:gd name="connsiteX105" fmla="*/ 3027062 w 3124190"/>
                <a:gd name="connsiteY105" fmla="*/ 2114111 h 3126924"/>
                <a:gd name="connsiteX106" fmla="*/ 2993189 w 3124190"/>
                <a:gd name="connsiteY106" fmla="*/ 1617795 h 3126924"/>
                <a:gd name="connsiteX107" fmla="*/ 2772798 w 3124190"/>
                <a:gd name="connsiteY107" fmla="*/ 1613246 h 3126924"/>
                <a:gd name="connsiteX108" fmla="*/ 2568615 w 3124190"/>
                <a:gd name="connsiteY108" fmla="*/ 1614839 h 3126924"/>
                <a:gd name="connsiteX109" fmla="*/ 2566953 w 3124190"/>
                <a:gd name="connsiteY109" fmla="*/ 1669911 h 3126924"/>
                <a:gd name="connsiteX110" fmla="*/ 2546126 w 3124190"/>
                <a:gd name="connsiteY110" fmla="*/ 1765969 h 3126924"/>
                <a:gd name="connsiteX111" fmla="*/ 2297195 w 3124190"/>
                <a:gd name="connsiteY111" fmla="*/ 1917261 h 3126924"/>
                <a:gd name="connsiteX112" fmla="*/ 2265401 w 3124190"/>
                <a:gd name="connsiteY112" fmla="*/ 1917261 h 3126924"/>
                <a:gd name="connsiteX113" fmla="*/ 2257550 w 3124190"/>
                <a:gd name="connsiteY113" fmla="*/ 1961226 h 3126924"/>
                <a:gd name="connsiteX114" fmla="*/ 1921001 w 3124190"/>
                <a:gd name="connsiteY114" fmla="*/ 2378317 h 3126924"/>
                <a:gd name="connsiteX115" fmla="*/ 1873570 w 3124190"/>
                <a:gd name="connsiteY115" fmla="*/ 2397713 h 3126924"/>
                <a:gd name="connsiteX116" fmla="*/ 1920369 w 3124190"/>
                <a:gd name="connsiteY116" fmla="*/ 2428863 h 3126924"/>
                <a:gd name="connsiteX117" fmla="*/ 2074010 w 3124190"/>
                <a:gd name="connsiteY117" fmla="*/ 2570410 h 3126924"/>
                <a:gd name="connsiteX118" fmla="*/ 2112939 w 3124190"/>
                <a:gd name="connsiteY118" fmla="*/ 2619848 h 3126924"/>
                <a:gd name="connsiteX119" fmla="*/ 2416177 w 3124190"/>
                <a:gd name="connsiteY119" fmla="*/ 2619848 h 3126924"/>
                <a:gd name="connsiteX120" fmla="*/ 2416177 w 3124190"/>
                <a:gd name="connsiteY120" fmla="*/ 2699580 h 3126924"/>
                <a:gd name="connsiteX121" fmla="*/ 2442014 w 3124190"/>
                <a:gd name="connsiteY121" fmla="*/ 2817368 h 3126924"/>
                <a:gd name="connsiteX122" fmla="*/ 2492534 w 3124190"/>
                <a:gd name="connsiteY122" fmla="*/ 2817552 h 3126924"/>
                <a:gd name="connsiteX123" fmla="*/ 2617750 w 3124190"/>
                <a:gd name="connsiteY123" fmla="*/ 2519010 h 3126924"/>
                <a:gd name="connsiteX124" fmla="*/ 2584524 w 3124190"/>
                <a:gd name="connsiteY124" fmla="*/ 2485367 h 3126924"/>
                <a:gd name="connsiteX125" fmla="*/ 2700019 w 3124190"/>
                <a:gd name="connsiteY125" fmla="*/ 2369358 h 3126924"/>
                <a:gd name="connsiteX126" fmla="*/ 2584386 w 3124190"/>
                <a:gd name="connsiteY126" fmla="*/ 2253234 h 3126924"/>
                <a:gd name="connsiteX127" fmla="*/ 2654394 w 3124190"/>
                <a:gd name="connsiteY127" fmla="*/ 2183222 h 3126924"/>
                <a:gd name="connsiteX128" fmla="*/ 2770512 w 3124190"/>
                <a:gd name="connsiteY128" fmla="*/ 2298861 h 3126924"/>
                <a:gd name="connsiteX129" fmla="*/ 2886653 w 3124190"/>
                <a:gd name="connsiteY129" fmla="*/ 2183222 h 3126924"/>
                <a:gd name="connsiteX130" fmla="*/ 2956661 w 3124190"/>
                <a:gd name="connsiteY130" fmla="*/ 2253234 h 3126924"/>
                <a:gd name="connsiteX131" fmla="*/ 2841005 w 3124190"/>
                <a:gd name="connsiteY131" fmla="*/ 2369358 h 3126924"/>
                <a:gd name="connsiteX132" fmla="*/ 2956661 w 3124190"/>
                <a:gd name="connsiteY132" fmla="*/ 2485505 h 3126924"/>
                <a:gd name="connsiteX133" fmla="*/ 2886653 w 3124190"/>
                <a:gd name="connsiteY133" fmla="*/ 2555517 h 3126924"/>
                <a:gd name="connsiteX134" fmla="*/ 2770512 w 3124190"/>
                <a:gd name="connsiteY134" fmla="*/ 2439854 h 3126924"/>
                <a:gd name="connsiteX135" fmla="*/ 2713896 w 3124190"/>
                <a:gd name="connsiteY135" fmla="*/ 2496265 h 3126924"/>
                <a:gd name="connsiteX136" fmla="*/ 2654116 w 3124190"/>
                <a:gd name="connsiteY136" fmla="*/ 2552654 h 3126924"/>
                <a:gd name="connsiteX137" fmla="*/ 2617750 w 3124190"/>
                <a:gd name="connsiteY137" fmla="*/ 2519010 h 3126924"/>
                <a:gd name="connsiteX138" fmla="*/ 2215873 w 3124190"/>
                <a:gd name="connsiteY138" fmla="*/ 2471697 h 3126924"/>
                <a:gd name="connsiteX139" fmla="*/ 2217651 w 3124190"/>
                <a:gd name="connsiteY139" fmla="*/ 2421290 h 3126924"/>
                <a:gd name="connsiteX140" fmla="*/ 2520057 w 3124190"/>
                <a:gd name="connsiteY140" fmla="*/ 2418033 h 3126924"/>
                <a:gd name="connsiteX141" fmla="*/ 2520057 w 3124190"/>
                <a:gd name="connsiteY141" fmla="*/ 2522104 h 3126924"/>
                <a:gd name="connsiteX142" fmla="*/ 2214095 w 3124190"/>
                <a:gd name="connsiteY142" fmla="*/ 2522104 h 3126924"/>
                <a:gd name="connsiteX143" fmla="*/ 2215873 w 3124190"/>
                <a:gd name="connsiteY143" fmla="*/ 2270090 h 3126924"/>
                <a:gd name="connsiteX144" fmla="*/ 2217651 w 3124190"/>
                <a:gd name="connsiteY144" fmla="*/ 2219682 h 3126924"/>
                <a:gd name="connsiteX145" fmla="*/ 2520057 w 3124190"/>
                <a:gd name="connsiteY145" fmla="*/ 2216403 h 3126924"/>
                <a:gd name="connsiteX146" fmla="*/ 2520057 w 3124190"/>
                <a:gd name="connsiteY146" fmla="*/ 2320497 h 3126924"/>
                <a:gd name="connsiteX147" fmla="*/ 2214095 w 3124190"/>
                <a:gd name="connsiteY147" fmla="*/ 2320497 h 3126924"/>
                <a:gd name="connsiteX148" fmla="*/ 2622253 w 3124190"/>
                <a:gd name="connsiteY148" fmla="*/ 2016436 h 3126924"/>
                <a:gd name="connsiteX149" fmla="*/ 2587295 w 3124190"/>
                <a:gd name="connsiteY149" fmla="*/ 1981107 h 3126924"/>
                <a:gd name="connsiteX150" fmla="*/ 2642248 w 3124190"/>
                <a:gd name="connsiteY150" fmla="*/ 1926405 h 3126924"/>
                <a:gd name="connsiteX151" fmla="*/ 2697225 w 3124190"/>
                <a:gd name="connsiteY151" fmla="*/ 1865329 h 3126924"/>
                <a:gd name="connsiteX152" fmla="*/ 2642248 w 3124190"/>
                <a:gd name="connsiteY152" fmla="*/ 1804254 h 3126924"/>
                <a:gd name="connsiteX153" fmla="*/ 2587295 w 3124190"/>
                <a:gd name="connsiteY153" fmla="*/ 1749551 h 3126924"/>
                <a:gd name="connsiteX154" fmla="*/ 2657211 w 3124190"/>
                <a:gd name="connsiteY154" fmla="*/ 1678917 h 3126924"/>
                <a:gd name="connsiteX155" fmla="*/ 2773814 w 3124190"/>
                <a:gd name="connsiteY155" fmla="*/ 1795087 h 3126924"/>
                <a:gd name="connsiteX156" fmla="*/ 2889332 w 3124190"/>
                <a:gd name="connsiteY156" fmla="*/ 1679078 h 3126924"/>
                <a:gd name="connsiteX157" fmla="*/ 2921565 w 3124190"/>
                <a:gd name="connsiteY157" fmla="*/ 1710897 h 3126924"/>
                <a:gd name="connsiteX158" fmla="*/ 2953798 w 3124190"/>
                <a:gd name="connsiteY158" fmla="*/ 1749182 h 3126924"/>
                <a:gd name="connsiteX159" fmla="*/ 2898799 w 3124190"/>
                <a:gd name="connsiteY159" fmla="*/ 1810350 h 3126924"/>
                <a:gd name="connsiteX160" fmla="*/ 2843822 w 3124190"/>
                <a:gd name="connsiteY160" fmla="*/ 1865098 h 3126924"/>
                <a:gd name="connsiteX161" fmla="*/ 2959986 w 3124190"/>
                <a:gd name="connsiteY161" fmla="*/ 1981707 h 3126924"/>
                <a:gd name="connsiteX162" fmla="*/ 2889355 w 3124190"/>
                <a:gd name="connsiteY162" fmla="*/ 2051627 h 3126924"/>
                <a:gd name="connsiteX163" fmla="*/ 2834655 w 3124190"/>
                <a:gd name="connsiteY163" fmla="*/ 1996671 h 3126924"/>
                <a:gd name="connsiteX164" fmla="*/ 2773814 w 3124190"/>
                <a:gd name="connsiteY164" fmla="*/ 1941714 h 3126924"/>
                <a:gd name="connsiteX165" fmla="*/ 2712441 w 3124190"/>
                <a:gd name="connsiteY165" fmla="*/ 1996717 h 3126924"/>
                <a:gd name="connsiteX166" fmla="*/ 2657187 w 3124190"/>
                <a:gd name="connsiteY166" fmla="*/ 2051742 h 3126924"/>
                <a:gd name="connsiteX167" fmla="*/ 1399739 w 3124190"/>
                <a:gd name="connsiteY167" fmla="*/ 2592416 h 3126924"/>
                <a:gd name="connsiteX168" fmla="*/ 1444323 w 3124190"/>
                <a:gd name="connsiteY168" fmla="*/ 2558865 h 3126924"/>
                <a:gd name="connsiteX169" fmla="*/ 1413263 w 3124190"/>
                <a:gd name="connsiteY169" fmla="*/ 2506888 h 3126924"/>
                <a:gd name="connsiteX170" fmla="*/ 1376663 w 3124190"/>
                <a:gd name="connsiteY170" fmla="*/ 2454910 h 3126924"/>
                <a:gd name="connsiteX171" fmla="*/ 1328946 w 3124190"/>
                <a:gd name="connsiteY171" fmla="*/ 2480564 h 3126924"/>
                <a:gd name="connsiteX172" fmla="*/ 1337916 w 3124190"/>
                <a:gd name="connsiteY172" fmla="*/ 2552654 h 3126924"/>
                <a:gd name="connsiteX173" fmla="*/ 1346887 w 3124190"/>
                <a:gd name="connsiteY173" fmla="*/ 2621395 h 3126924"/>
                <a:gd name="connsiteX174" fmla="*/ 1399739 w 3124190"/>
                <a:gd name="connsiteY174" fmla="*/ 2592416 h 3126924"/>
                <a:gd name="connsiteX175" fmla="*/ 1774924 w 3124190"/>
                <a:gd name="connsiteY175" fmla="*/ 2621395 h 3126924"/>
                <a:gd name="connsiteX176" fmla="*/ 1783894 w 3124190"/>
                <a:gd name="connsiteY176" fmla="*/ 2552654 h 3126924"/>
                <a:gd name="connsiteX177" fmla="*/ 1792865 w 3124190"/>
                <a:gd name="connsiteY177" fmla="*/ 2481025 h 3126924"/>
                <a:gd name="connsiteX178" fmla="*/ 1748311 w 3124190"/>
                <a:gd name="connsiteY178" fmla="*/ 2454910 h 3126924"/>
                <a:gd name="connsiteX179" fmla="*/ 1708573 w 3124190"/>
                <a:gd name="connsiteY179" fmla="*/ 2506841 h 3126924"/>
                <a:gd name="connsiteX180" fmla="*/ 1677536 w 3124190"/>
                <a:gd name="connsiteY180" fmla="*/ 2558772 h 3126924"/>
                <a:gd name="connsiteX181" fmla="*/ 1721552 w 3124190"/>
                <a:gd name="connsiteY181" fmla="*/ 2592254 h 3126924"/>
                <a:gd name="connsiteX182" fmla="*/ 1774926 w 3124190"/>
                <a:gd name="connsiteY182" fmla="*/ 2621395 h 3126924"/>
                <a:gd name="connsiteX183" fmla="*/ 1610858 w 3124190"/>
                <a:gd name="connsiteY183" fmla="*/ 2474768 h 3126924"/>
                <a:gd name="connsiteX184" fmla="*/ 1639353 w 3124190"/>
                <a:gd name="connsiteY184" fmla="*/ 2427408 h 3126924"/>
                <a:gd name="connsiteX185" fmla="*/ 1600132 w 3124190"/>
                <a:gd name="connsiteY185" fmla="*/ 2422860 h 3126924"/>
                <a:gd name="connsiteX186" fmla="*/ 1521690 w 3124190"/>
                <a:gd name="connsiteY186" fmla="*/ 2422860 h 3126924"/>
                <a:gd name="connsiteX187" fmla="*/ 1482469 w 3124190"/>
                <a:gd name="connsiteY187" fmla="*/ 2427408 h 3126924"/>
                <a:gd name="connsiteX188" fmla="*/ 1510964 w 3124190"/>
                <a:gd name="connsiteY188" fmla="*/ 2474768 h 3126924"/>
                <a:gd name="connsiteX189" fmla="*/ 1560912 w 3124190"/>
                <a:gd name="connsiteY189" fmla="*/ 2522104 h 3126924"/>
                <a:gd name="connsiteX190" fmla="*/ 1610860 w 3124190"/>
                <a:gd name="connsiteY190" fmla="*/ 2474768 h 3126924"/>
                <a:gd name="connsiteX191" fmla="*/ 1826659 w 3124190"/>
                <a:gd name="connsiteY191" fmla="*/ 2306297 h 3126924"/>
                <a:gd name="connsiteX192" fmla="*/ 2148013 w 3124190"/>
                <a:gd name="connsiteY192" fmla="*/ 1993622 h 3126924"/>
                <a:gd name="connsiteX193" fmla="*/ 2164360 w 3124190"/>
                <a:gd name="connsiteY193" fmla="*/ 1695957 h 3126924"/>
                <a:gd name="connsiteX194" fmla="*/ 2124115 w 3124190"/>
                <a:gd name="connsiteY194" fmla="*/ 1380813 h 3126924"/>
                <a:gd name="connsiteX195" fmla="*/ 2102549 w 3124190"/>
                <a:gd name="connsiteY195" fmla="*/ 1364372 h 3126924"/>
                <a:gd name="connsiteX196" fmla="*/ 1307382 w 3124190"/>
                <a:gd name="connsiteY196" fmla="*/ 1358253 h 3126924"/>
                <a:gd name="connsiteX197" fmla="*/ 1271674 w 3124190"/>
                <a:gd name="connsiteY197" fmla="*/ 1340173 h 3126924"/>
                <a:gd name="connsiteX198" fmla="*/ 1172330 w 3124190"/>
                <a:gd name="connsiteY198" fmla="*/ 1235224 h 3126924"/>
                <a:gd name="connsiteX199" fmla="*/ 1161638 w 3124190"/>
                <a:gd name="connsiteY199" fmla="*/ 1207215 h 3126924"/>
                <a:gd name="connsiteX200" fmla="*/ 1134205 w 3124190"/>
                <a:gd name="connsiteY200" fmla="*/ 1210979 h 3126924"/>
                <a:gd name="connsiteX201" fmla="*/ 976144 w 3124190"/>
                <a:gd name="connsiteY201" fmla="*/ 1323686 h 3126924"/>
                <a:gd name="connsiteX202" fmla="*/ 959161 w 3124190"/>
                <a:gd name="connsiteY202" fmla="*/ 1358253 h 3126924"/>
                <a:gd name="connsiteX203" fmla="*/ 957390 w 3124190"/>
                <a:gd name="connsiteY203" fmla="*/ 1633173 h 3126924"/>
                <a:gd name="connsiteX204" fmla="*/ 996149 w 3124190"/>
                <a:gd name="connsiteY204" fmla="*/ 2050588 h 3126924"/>
                <a:gd name="connsiteX205" fmla="*/ 1321783 w 3124190"/>
                <a:gd name="connsiteY205" fmla="*/ 2311446 h 3126924"/>
                <a:gd name="connsiteX206" fmla="*/ 1826663 w 3124190"/>
                <a:gd name="connsiteY206" fmla="*/ 2306297 h 3126924"/>
                <a:gd name="connsiteX207" fmla="*/ 1312173 w 3124190"/>
                <a:gd name="connsiteY207" fmla="*/ 2187540 h 3126924"/>
                <a:gd name="connsiteX208" fmla="*/ 1376178 w 3124190"/>
                <a:gd name="connsiteY208" fmla="*/ 2051003 h 3126924"/>
                <a:gd name="connsiteX209" fmla="*/ 1743998 w 3124190"/>
                <a:gd name="connsiteY209" fmla="*/ 2049410 h 3126924"/>
                <a:gd name="connsiteX210" fmla="*/ 1809630 w 3124190"/>
                <a:gd name="connsiteY210" fmla="*/ 2187540 h 3126924"/>
                <a:gd name="connsiteX211" fmla="*/ 1813075 w 3124190"/>
                <a:gd name="connsiteY211" fmla="*/ 2216635 h 3126924"/>
                <a:gd name="connsiteX212" fmla="*/ 1714180 w 3124190"/>
                <a:gd name="connsiteY212" fmla="*/ 2216635 h 3126924"/>
                <a:gd name="connsiteX213" fmla="*/ 1710021 w 3124190"/>
                <a:gd name="connsiteY213" fmla="*/ 2193728 h 3126924"/>
                <a:gd name="connsiteX214" fmla="*/ 1660974 w 3124190"/>
                <a:gd name="connsiteY214" fmla="*/ 2106837 h 3126924"/>
                <a:gd name="connsiteX215" fmla="*/ 1560896 w 3124190"/>
                <a:gd name="connsiteY215" fmla="*/ 2070007 h 3126924"/>
                <a:gd name="connsiteX216" fmla="*/ 1460818 w 3124190"/>
                <a:gd name="connsiteY216" fmla="*/ 2106837 h 3126924"/>
                <a:gd name="connsiteX217" fmla="*/ 1411771 w 3124190"/>
                <a:gd name="connsiteY217" fmla="*/ 2193728 h 3126924"/>
                <a:gd name="connsiteX218" fmla="*/ 1407615 w 3124190"/>
                <a:gd name="connsiteY218" fmla="*/ 2216635 h 3126924"/>
                <a:gd name="connsiteX219" fmla="*/ 1308719 w 3124190"/>
                <a:gd name="connsiteY219" fmla="*/ 2216635 h 3126924"/>
                <a:gd name="connsiteX220" fmla="*/ 1218755 w 3124190"/>
                <a:gd name="connsiteY220" fmla="*/ 1759180 h 3126924"/>
                <a:gd name="connsiteX221" fmla="*/ 1143766 w 3124190"/>
                <a:gd name="connsiteY221" fmla="*/ 1709442 h 3126924"/>
                <a:gd name="connsiteX222" fmla="*/ 1178518 w 3124190"/>
                <a:gd name="connsiteY222" fmla="*/ 1486869 h 3126924"/>
                <a:gd name="connsiteX223" fmla="*/ 1325145 w 3124190"/>
                <a:gd name="connsiteY223" fmla="*/ 1479896 h 3126924"/>
                <a:gd name="connsiteX224" fmla="*/ 1268109 w 3124190"/>
                <a:gd name="connsiteY224" fmla="*/ 1761997 h 3126924"/>
                <a:gd name="connsiteX225" fmla="*/ 1218755 w 3124190"/>
                <a:gd name="connsiteY225" fmla="*/ 1759203 h 3126924"/>
                <a:gd name="connsiteX226" fmla="*/ 1297823 w 3124190"/>
                <a:gd name="connsiteY226" fmla="*/ 1645873 h 3126924"/>
                <a:gd name="connsiteX227" fmla="*/ 1308057 w 3124190"/>
                <a:gd name="connsiteY227" fmla="*/ 1619088 h 3126924"/>
                <a:gd name="connsiteX228" fmla="*/ 1293291 w 3124190"/>
                <a:gd name="connsiteY228" fmla="*/ 1581496 h 3126924"/>
                <a:gd name="connsiteX229" fmla="*/ 1258506 w 3124190"/>
                <a:gd name="connsiteY229" fmla="*/ 1562931 h 3126924"/>
                <a:gd name="connsiteX230" fmla="*/ 1206577 w 3124190"/>
                <a:gd name="connsiteY230" fmla="*/ 1613546 h 3126924"/>
                <a:gd name="connsiteX231" fmla="*/ 1244878 w 3124190"/>
                <a:gd name="connsiteY231" fmla="*/ 1662037 h 3126924"/>
                <a:gd name="connsiteX232" fmla="*/ 1297821 w 3124190"/>
                <a:gd name="connsiteY232" fmla="*/ 1645873 h 3126924"/>
                <a:gd name="connsiteX233" fmla="*/ 1823553 w 3124190"/>
                <a:gd name="connsiteY233" fmla="*/ 1759180 h 3126924"/>
                <a:gd name="connsiteX234" fmla="*/ 1715311 w 3124190"/>
                <a:gd name="connsiteY234" fmla="*/ 1598976 h 3126924"/>
                <a:gd name="connsiteX235" fmla="*/ 1783567 w 3124190"/>
                <a:gd name="connsiteY235" fmla="*/ 1486708 h 3126924"/>
                <a:gd name="connsiteX236" fmla="*/ 1863302 w 3124190"/>
                <a:gd name="connsiteY236" fmla="*/ 1468212 h 3126924"/>
                <a:gd name="connsiteX237" fmla="*/ 1943038 w 3124190"/>
                <a:gd name="connsiteY237" fmla="*/ 1486708 h 3126924"/>
                <a:gd name="connsiteX238" fmla="*/ 1931816 w 3124190"/>
                <a:gd name="connsiteY238" fmla="*/ 1747081 h 3126924"/>
                <a:gd name="connsiteX239" fmla="*/ 1823553 w 3124190"/>
                <a:gd name="connsiteY239" fmla="*/ 1759180 h 3126924"/>
                <a:gd name="connsiteX240" fmla="*/ 1902622 w 3124190"/>
                <a:gd name="connsiteY240" fmla="*/ 1645873 h 3126924"/>
                <a:gd name="connsiteX241" fmla="*/ 1912855 w 3124190"/>
                <a:gd name="connsiteY241" fmla="*/ 1619088 h 3126924"/>
                <a:gd name="connsiteX242" fmla="*/ 1898087 w 3124190"/>
                <a:gd name="connsiteY242" fmla="*/ 1581496 h 3126924"/>
                <a:gd name="connsiteX243" fmla="*/ 1829231 w 3124190"/>
                <a:gd name="connsiteY243" fmla="*/ 1580780 h 3126924"/>
                <a:gd name="connsiteX244" fmla="*/ 1817437 w 3124190"/>
                <a:gd name="connsiteY244" fmla="*/ 1633058 h 3126924"/>
                <a:gd name="connsiteX245" fmla="*/ 1902622 w 3124190"/>
                <a:gd name="connsiteY245" fmla="*/ 1645873 h 3126924"/>
                <a:gd name="connsiteX246" fmla="*/ 852247 w 3124190"/>
                <a:gd name="connsiteY246" fmla="*/ 1663723 h 3126924"/>
                <a:gd name="connsiteX247" fmla="*/ 852247 w 3124190"/>
                <a:gd name="connsiteY247" fmla="*/ 1514047 h 3126924"/>
                <a:gd name="connsiteX248" fmla="*/ 810179 w 3124190"/>
                <a:gd name="connsiteY248" fmla="*/ 1514047 h 3126924"/>
                <a:gd name="connsiteX249" fmla="*/ 657025 w 3124190"/>
                <a:gd name="connsiteY249" fmla="*/ 1631880 h 3126924"/>
                <a:gd name="connsiteX250" fmla="*/ 810579 w 3124190"/>
                <a:gd name="connsiteY250" fmla="*/ 1813398 h 3126924"/>
                <a:gd name="connsiteX251" fmla="*/ 852247 w 3124190"/>
                <a:gd name="connsiteY251" fmla="*/ 1813398 h 3126924"/>
                <a:gd name="connsiteX252" fmla="*/ 2386368 w 3124190"/>
                <a:gd name="connsiteY252" fmla="*/ 1796357 h 3126924"/>
                <a:gd name="connsiteX253" fmla="*/ 2386045 w 3124190"/>
                <a:gd name="connsiteY253" fmla="*/ 1530858 h 3126924"/>
                <a:gd name="connsiteX254" fmla="*/ 2311257 w 3124190"/>
                <a:gd name="connsiteY254" fmla="*/ 1514047 h 3126924"/>
                <a:gd name="connsiteX255" fmla="*/ 2269580 w 3124190"/>
                <a:gd name="connsiteY255" fmla="*/ 1514047 h 3126924"/>
                <a:gd name="connsiteX256" fmla="*/ 2269580 w 3124190"/>
                <a:gd name="connsiteY256" fmla="*/ 1813421 h 3126924"/>
                <a:gd name="connsiteX257" fmla="*/ 2311650 w 3124190"/>
                <a:gd name="connsiteY257" fmla="*/ 1813421 h 3126924"/>
                <a:gd name="connsiteX258" fmla="*/ 2386368 w 3124190"/>
                <a:gd name="connsiteY258" fmla="*/ 1796357 h 3126924"/>
                <a:gd name="connsiteX259" fmla="*/ 730079 w 3124190"/>
                <a:gd name="connsiteY259" fmla="*/ 1425355 h 3126924"/>
                <a:gd name="connsiteX260" fmla="*/ 806444 w 3124190"/>
                <a:gd name="connsiteY260" fmla="*/ 1411200 h 3126924"/>
                <a:gd name="connsiteX261" fmla="*/ 855318 w 3124190"/>
                <a:gd name="connsiteY261" fmla="*/ 1407113 h 3126924"/>
                <a:gd name="connsiteX262" fmla="*/ 859460 w 3124190"/>
                <a:gd name="connsiteY262" fmla="*/ 1369568 h 3126924"/>
                <a:gd name="connsiteX263" fmla="*/ 954557 w 3124190"/>
                <a:gd name="connsiteY263" fmla="*/ 1189228 h 3126924"/>
                <a:gd name="connsiteX264" fmla="*/ 1136618 w 3124190"/>
                <a:gd name="connsiteY264" fmla="*/ 1110811 h 3126924"/>
                <a:gd name="connsiteX265" fmla="*/ 1172603 w 3124190"/>
                <a:gd name="connsiteY265" fmla="*/ 1083494 h 3126924"/>
                <a:gd name="connsiteX266" fmla="*/ 1272556 w 3124190"/>
                <a:gd name="connsiteY266" fmla="*/ 978246 h 3126924"/>
                <a:gd name="connsiteX267" fmla="*/ 1359323 w 3124190"/>
                <a:gd name="connsiteY267" fmla="*/ 961182 h 3126924"/>
                <a:gd name="connsiteX268" fmla="*/ 1439816 w 3124190"/>
                <a:gd name="connsiteY268" fmla="*/ 974390 h 3126924"/>
                <a:gd name="connsiteX269" fmla="*/ 1558220 w 3124190"/>
                <a:gd name="connsiteY269" fmla="*/ 1130669 h 3126924"/>
                <a:gd name="connsiteX270" fmla="*/ 1562314 w 3124190"/>
                <a:gd name="connsiteY270" fmla="*/ 1159694 h 3126924"/>
                <a:gd name="connsiteX271" fmla="*/ 1512555 w 3124190"/>
                <a:gd name="connsiteY271" fmla="*/ 1159694 h 3126924"/>
                <a:gd name="connsiteX272" fmla="*/ 1460444 w 3124190"/>
                <a:gd name="connsiteY272" fmla="*/ 1152051 h 3126924"/>
                <a:gd name="connsiteX273" fmla="*/ 1454166 w 3124190"/>
                <a:gd name="connsiteY273" fmla="*/ 1126651 h 3126924"/>
                <a:gd name="connsiteX274" fmla="*/ 1333730 w 3124190"/>
                <a:gd name="connsiteY274" fmla="*/ 1062250 h 3126924"/>
                <a:gd name="connsiteX275" fmla="*/ 1305586 w 3124190"/>
                <a:gd name="connsiteY275" fmla="*/ 1243722 h 3126924"/>
                <a:gd name="connsiteX276" fmla="*/ 1330925 w 3124190"/>
                <a:gd name="connsiteY276" fmla="*/ 1260509 h 3126924"/>
                <a:gd name="connsiteX277" fmla="*/ 2126031 w 3124190"/>
                <a:gd name="connsiteY277" fmla="*/ 1266605 h 3126924"/>
                <a:gd name="connsiteX278" fmla="*/ 2158749 w 3124190"/>
                <a:gd name="connsiteY278" fmla="*/ 1284732 h 3126924"/>
                <a:gd name="connsiteX279" fmla="*/ 2249007 w 3124190"/>
                <a:gd name="connsiteY279" fmla="*/ 1382244 h 3126924"/>
                <a:gd name="connsiteX280" fmla="*/ 2259929 w 3124190"/>
                <a:gd name="connsiteY280" fmla="*/ 1408637 h 3126924"/>
                <a:gd name="connsiteX281" fmla="*/ 2312111 w 3124190"/>
                <a:gd name="connsiteY281" fmla="*/ 1411732 h 3126924"/>
                <a:gd name="connsiteX282" fmla="*/ 2400730 w 3124190"/>
                <a:gd name="connsiteY282" fmla="*/ 1427780 h 3126924"/>
                <a:gd name="connsiteX283" fmla="*/ 2438666 w 3124190"/>
                <a:gd name="connsiteY283" fmla="*/ 1440734 h 3126924"/>
                <a:gd name="connsiteX284" fmla="*/ 2465358 w 3124190"/>
                <a:gd name="connsiteY284" fmla="*/ 1318652 h 3126924"/>
                <a:gd name="connsiteX285" fmla="*/ 2385929 w 3124190"/>
                <a:gd name="connsiteY285" fmla="*/ 952546 h 3126924"/>
                <a:gd name="connsiteX286" fmla="*/ 2050181 w 3124190"/>
                <a:gd name="connsiteY286" fmla="*/ 683560 h 3126924"/>
                <a:gd name="connsiteX287" fmla="*/ 1557874 w 3124190"/>
                <a:gd name="connsiteY287" fmla="*/ 655643 h 3126924"/>
                <a:gd name="connsiteX288" fmla="*/ 1028057 w 3124190"/>
                <a:gd name="connsiteY288" fmla="*/ 700185 h 3126924"/>
                <a:gd name="connsiteX289" fmla="*/ 656473 w 3124190"/>
                <a:gd name="connsiteY289" fmla="*/ 1318490 h 3126924"/>
                <a:gd name="connsiteX290" fmla="*/ 672823 w 3124190"/>
                <a:gd name="connsiteY290" fmla="*/ 1410877 h 3126924"/>
                <a:gd name="connsiteX291" fmla="*/ 730084 w 3124190"/>
                <a:gd name="connsiteY291" fmla="*/ 1425332 h 3126924"/>
                <a:gd name="connsiteX292" fmla="*/ 157985 w 3124190"/>
                <a:gd name="connsiteY292" fmla="*/ 1306668 h 3126924"/>
                <a:gd name="connsiteX293" fmla="*/ 221001 w 3124190"/>
                <a:gd name="connsiteY293" fmla="*/ 1205968 h 3126924"/>
                <a:gd name="connsiteX294" fmla="*/ 268848 w 3124190"/>
                <a:gd name="connsiteY294" fmla="*/ 1111042 h 3126924"/>
                <a:gd name="connsiteX295" fmla="*/ 566013 w 3124190"/>
                <a:gd name="connsiteY295" fmla="*/ 1107763 h 3126924"/>
                <a:gd name="connsiteX296" fmla="*/ 585960 w 3124190"/>
                <a:gd name="connsiteY296" fmla="*/ 1046664 h 3126924"/>
                <a:gd name="connsiteX297" fmla="*/ 1141730 w 3124190"/>
                <a:gd name="connsiteY297" fmla="*/ 564110 h 3126924"/>
                <a:gd name="connsiteX298" fmla="*/ 1354024 w 3124190"/>
                <a:gd name="connsiteY298" fmla="*/ 554874 h 3126924"/>
                <a:gd name="connsiteX299" fmla="*/ 1512061 w 3124190"/>
                <a:gd name="connsiteY299" fmla="*/ 554874 h 3126924"/>
                <a:gd name="connsiteX300" fmla="*/ 1512061 w 3124190"/>
                <a:gd name="connsiteY300" fmla="*/ 350589 h 3126924"/>
                <a:gd name="connsiteX301" fmla="*/ 1505991 w 3124190"/>
                <a:gd name="connsiteY301" fmla="*/ 130347 h 3126924"/>
                <a:gd name="connsiteX302" fmla="*/ 808173 w 3124190"/>
                <a:gd name="connsiteY302" fmla="*/ 96681 h 3126924"/>
                <a:gd name="connsiteX303" fmla="*/ 135477 w 3124190"/>
                <a:gd name="connsiteY303" fmla="*/ 103216 h 3126924"/>
                <a:gd name="connsiteX304" fmla="*/ 94728 w 3124190"/>
                <a:gd name="connsiteY304" fmla="*/ 706489 h 3126924"/>
                <a:gd name="connsiteX305" fmla="*/ 101158 w 3124190"/>
                <a:gd name="connsiteY305" fmla="*/ 1280183 h 3126924"/>
                <a:gd name="connsiteX306" fmla="*/ 121013 w 3124190"/>
                <a:gd name="connsiteY306" fmla="*/ 1305121 h 3126924"/>
                <a:gd name="connsiteX307" fmla="*/ 157975 w 3124190"/>
                <a:gd name="connsiteY307" fmla="*/ 1306668 h 3126924"/>
                <a:gd name="connsiteX308" fmla="*/ 232216 w 3124190"/>
                <a:gd name="connsiteY308" fmla="*/ 909227 h 3126924"/>
                <a:gd name="connsiteX309" fmla="*/ 165161 w 3124190"/>
                <a:gd name="connsiteY309" fmla="*/ 841940 h 3126924"/>
                <a:gd name="connsiteX310" fmla="*/ 235238 w 3124190"/>
                <a:gd name="connsiteY310" fmla="*/ 771859 h 3126924"/>
                <a:gd name="connsiteX311" fmla="*/ 299257 w 3124190"/>
                <a:gd name="connsiteY311" fmla="*/ 835890 h 3126924"/>
                <a:gd name="connsiteX312" fmla="*/ 516263 w 3124190"/>
                <a:gd name="connsiteY312" fmla="*/ 619113 h 3126924"/>
                <a:gd name="connsiteX313" fmla="*/ 586440 w 3124190"/>
                <a:gd name="connsiteY313" fmla="*/ 689309 h 3126924"/>
                <a:gd name="connsiteX314" fmla="*/ 299273 w 3124190"/>
                <a:gd name="connsiteY314" fmla="*/ 976491 h 3126924"/>
                <a:gd name="connsiteX315" fmla="*/ 233657 w 3124190"/>
                <a:gd name="connsiteY315" fmla="*/ 458562 h 3126924"/>
                <a:gd name="connsiteX316" fmla="*/ 168042 w 3124190"/>
                <a:gd name="connsiteY316" fmla="*/ 386518 h 3126924"/>
                <a:gd name="connsiteX317" fmla="*/ 200329 w 3124190"/>
                <a:gd name="connsiteY317" fmla="*/ 348418 h 3126924"/>
                <a:gd name="connsiteX318" fmla="*/ 232611 w 3124190"/>
                <a:gd name="connsiteY318" fmla="*/ 316530 h 3126924"/>
                <a:gd name="connsiteX319" fmla="*/ 262717 w 3124190"/>
                <a:gd name="connsiteY319" fmla="*/ 347102 h 3126924"/>
                <a:gd name="connsiteX320" fmla="*/ 299095 w 3124190"/>
                <a:gd name="connsiteY320" fmla="*/ 377651 h 3126924"/>
                <a:gd name="connsiteX321" fmla="*/ 410819 w 3124190"/>
                <a:gd name="connsiteY321" fmla="*/ 272334 h 3126924"/>
                <a:gd name="connsiteX322" fmla="*/ 516266 w 3124190"/>
                <a:gd name="connsiteY322" fmla="*/ 167016 h 3126924"/>
                <a:gd name="connsiteX323" fmla="*/ 586440 w 3124190"/>
                <a:gd name="connsiteY323" fmla="*/ 237189 h 3126924"/>
                <a:gd name="connsiteX324" fmla="*/ 299273 w 3124190"/>
                <a:gd name="connsiteY324" fmla="*/ 524371 h 3126924"/>
                <a:gd name="connsiteX325" fmla="*/ 705659 w 3124190"/>
                <a:gd name="connsiteY325" fmla="*/ 454036 h 3126924"/>
                <a:gd name="connsiteX326" fmla="*/ 705659 w 3124190"/>
                <a:gd name="connsiteY326" fmla="*/ 402105 h 3126924"/>
                <a:gd name="connsiteX327" fmla="*/ 1408208 w 3124190"/>
                <a:gd name="connsiteY327" fmla="*/ 402105 h 3126924"/>
                <a:gd name="connsiteX328" fmla="*/ 1408208 w 3124190"/>
                <a:gd name="connsiteY328" fmla="*/ 505944 h 3126924"/>
                <a:gd name="connsiteX329" fmla="*/ 705659 w 3124190"/>
                <a:gd name="connsiteY329" fmla="*/ 505944 h 3126924"/>
                <a:gd name="connsiteX330" fmla="*/ 705659 w 3124190"/>
                <a:gd name="connsiteY330" fmla="*/ 252406 h 3126924"/>
                <a:gd name="connsiteX331" fmla="*/ 705659 w 3124190"/>
                <a:gd name="connsiteY331" fmla="*/ 200475 h 3126924"/>
                <a:gd name="connsiteX332" fmla="*/ 1408208 w 3124190"/>
                <a:gd name="connsiteY332" fmla="*/ 200475 h 3126924"/>
                <a:gd name="connsiteX333" fmla="*/ 1408208 w 3124190"/>
                <a:gd name="connsiteY333" fmla="*/ 304338 h 3126924"/>
                <a:gd name="connsiteX334" fmla="*/ 705659 w 3124190"/>
                <a:gd name="connsiteY334" fmla="*/ 304338 h 3126924"/>
                <a:gd name="connsiteX335" fmla="*/ 400205 w 3124190"/>
                <a:gd name="connsiteY335" fmla="*/ 2571195 h 3126924"/>
                <a:gd name="connsiteX336" fmla="*/ 400205 w 3124190"/>
                <a:gd name="connsiteY336" fmla="*/ 2418218 h 3126924"/>
                <a:gd name="connsiteX337" fmla="*/ 444494 w 3124190"/>
                <a:gd name="connsiteY337" fmla="*/ 2418080 h 3126924"/>
                <a:gd name="connsiteX338" fmla="*/ 562782 w 3124190"/>
                <a:gd name="connsiteY338" fmla="*/ 2367534 h 3126924"/>
                <a:gd name="connsiteX339" fmla="*/ 587304 w 3124190"/>
                <a:gd name="connsiteY339" fmla="*/ 2207098 h 3126924"/>
                <a:gd name="connsiteX340" fmla="*/ 355506 w 3124190"/>
                <a:gd name="connsiteY340" fmla="*/ 2152003 h 3126924"/>
                <a:gd name="connsiteX341" fmla="*/ 298908 w 3124190"/>
                <a:gd name="connsiteY341" fmla="*/ 2276163 h 3126924"/>
                <a:gd name="connsiteX342" fmla="*/ 294764 w 3124190"/>
                <a:gd name="connsiteY342" fmla="*/ 2320474 h 3126924"/>
                <a:gd name="connsiteX343" fmla="*/ 196900 w 3124190"/>
                <a:gd name="connsiteY343" fmla="*/ 2320474 h 3126924"/>
                <a:gd name="connsiteX344" fmla="*/ 200119 w 3124190"/>
                <a:gd name="connsiteY344" fmla="*/ 2266996 h 3126924"/>
                <a:gd name="connsiteX345" fmla="*/ 306932 w 3124190"/>
                <a:gd name="connsiteY345" fmla="*/ 2063357 h 3126924"/>
                <a:gd name="connsiteX346" fmla="*/ 700704 w 3124190"/>
                <a:gd name="connsiteY346" fmla="*/ 2267919 h 3126924"/>
                <a:gd name="connsiteX347" fmla="*/ 534731 w 3124190"/>
                <a:gd name="connsiteY347" fmla="*/ 2506749 h 3126924"/>
                <a:gd name="connsiteX348" fmla="*/ 504340 w 3124190"/>
                <a:gd name="connsiteY348" fmla="*/ 2516840 h 3126924"/>
                <a:gd name="connsiteX349" fmla="*/ 500994 w 3124190"/>
                <a:gd name="connsiteY349" fmla="*/ 2720617 h 3126924"/>
                <a:gd name="connsiteX350" fmla="*/ 450594 w 3124190"/>
                <a:gd name="connsiteY350" fmla="*/ 2722394 h 3126924"/>
                <a:gd name="connsiteX351" fmla="*/ 400194 w 3124190"/>
                <a:gd name="connsiteY351" fmla="*/ 2724172 h 3126924"/>
                <a:gd name="connsiteX352" fmla="*/ 2732737 w 3124190"/>
                <a:gd name="connsiteY352" fmla="*/ 1102498 h 3126924"/>
                <a:gd name="connsiteX353" fmla="*/ 2638415 w 3124190"/>
                <a:gd name="connsiteY353" fmla="*/ 886367 h 3126924"/>
                <a:gd name="connsiteX354" fmla="*/ 2707754 w 3124190"/>
                <a:gd name="connsiteY354" fmla="*/ 821181 h 3126924"/>
                <a:gd name="connsiteX355" fmla="*/ 2913968 w 3124190"/>
                <a:gd name="connsiteY355" fmla="*/ 908950 h 3126924"/>
                <a:gd name="connsiteX356" fmla="*/ 2732737 w 3124190"/>
                <a:gd name="connsiteY356" fmla="*/ 1102498 h 3126924"/>
                <a:gd name="connsiteX357" fmla="*/ 2803253 w 3124190"/>
                <a:gd name="connsiteY357" fmla="*/ 994271 h 3126924"/>
                <a:gd name="connsiteX358" fmla="*/ 2819347 w 3124190"/>
                <a:gd name="connsiteY358" fmla="*/ 959542 h 3126924"/>
                <a:gd name="connsiteX359" fmla="*/ 2736593 w 3124190"/>
                <a:gd name="connsiteY359" fmla="*/ 924190 h 3126924"/>
                <a:gd name="connsiteX360" fmla="*/ 2803253 w 3124190"/>
                <a:gd name="connsiteY360" fmla="*/ 994271 h 3126924"/>
                <a:gd name="connsiteX361" fmla="*/ 2721608 w 3124190"/>
                <a:gd name="connsiteY361" fmla="*/ 554828 h 3126924"/>
                <a:gd name="connsiteX362" fmla="*/ 2721608 w 3124190"/>
                <a:gd name="connsiteY362" fmla="*/ 402105 h 3126924"/>
                <a:gd name="connsiteX363" fmla="*/ 2762846 w 3124190"/>
                <a:gd name="connsiteY363" fmla="*/ 402035 h 3126924"/>
                <a:gd name="connsiteX364" fmla="*/ 2921311 w 3124190"/>
                <a:gd name="connsiteY364" fmla="*/ 267485 h 3126924"/>
                <a:gd name="connsiteX365" fmla="*/ 2882659 w 3124190"/>
                <a:gd name="connsiteY365" fmla="*/ 151961 h 3126924"/>
                <a:gd name="connsiteX366" fmla="*/ 2770212 w 3124190"/>
                <a:gd name="connsiteY366" fmla="*/ 101530 h 3126924"/>
                <a:gd name="connsiteX367" fmla="*/ 2619597 w 3124190"/>
                <a:gd name="connsiteY367" fmla="*/ 254992 h 3126924"/>
                <a:gd name="connsiteX368" fmla="*/ 2615972 w 3124190"/>
                <a:gd name="connsiteY368" fmla="*/ 298218 h 3126924"/>
                <a:gd name="connsiteX369" fmla="*/ 2518303 w 3124190"/>
                <a:gd name="connsiteY369" fmla="*/ 298218 h 3126924"/>
                <a:gd name="connsiteX370" fmla="*/ 2521466 w 3124190"/>
                <a:gd name="connsiteY370" fmla="*/ 242870 h 3126924"/>
                <a:gd name="connsiteX371" fmla="*/ 2546611 w 3124190"/>
                <a:gd name="connsiteY371" fmla="*/ 143025 h 3126924"/>
                <a:gd name="connsiteX372" fmla="*/ 2998523 w 3124190"/>
                <a:gd name="connsiteY372" fmla="*/ 144248 h 3126924"/>
                <a:gd name="connsiteX373" fmla="*/ 3017803 w 3124190"/>
                <a:gd name="connsiteY373" fmla="*/ 252406 h 3126924"/>
                <a:gd name="connsiteX374" fmla="*/ 3001409 w 3124190"/>
                <a:gd name="connsiteY374" fmla="*/ 354560 h 3126924"/>
                <a:gd name="connsiteX375" fmla="*/ 2848163 w 3124190"/>
                <a:gd name="connsiteY375" fmla="*/ 490520 h 3126924"/>
                <a:gd name="connsiteX376" fmla="*/ 2822417 w 3124190"/>
                <a:gd name="connsiteY376" fmla="*/ 498116 h 3126924"/>
                <a:gd name="connsiteX377" fmla="*/ 2820732 w 3124190"/>
                <a:gd name="connsiteY377" fmla="*/ 602834 h 3126924"/>
                <a:gd name="connsiteX378" fmla="*/ 2819070 w 3124190"/>
                <a:gd name="connsiteY378" fmla="*/ 707551 h 3126924"/>
                <a:gd name="connsiteX379" fmla="*/ 2721608 w 3124190"/>
                <a:gd name="connsiteY379" fmla="*/ 707551 h 31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3124190" h="3126924">
                  <a:moveTo>
                    <a:pt x="412334" y="3121590"/>
                  </a:moveTo>
                  <a:cubicBezTo>
                    <a:pt x="366997" y="3106720"/>
                    <a:pt x="328061" y="3072753"/>
                    <a:pt x="311882" y="3033960"/>
                  </a:cubicBezTo>
                  <a:cubicBezTo>
                    <a:pt x="291693" y="2985562"/>
                    <a:pt x="305276" y="2909592"/>
                    <a:pt x="340971" y="2871262"/>
                  </a:cubicBezTo>
                  <a:cubicBezTo>
                    <a:pt x="394973" y="2813280"/>
                    <a:pt x="501269" y="2812796"/>
                    <a:pt x="557183" y="2870292"/>
                  </a:cubicBezTo>
                  <a:cubicBezTo>
                    <a:pt x="646593" y="2962217"/>
                    <a:pt x="589453" y="3115956"/>
                    <a:pt x="462776" y="3124315"/>
                  </a:cubicBezTo>
                  <a:cubicBezTo>
                    <a:pt x="443455" y="3125585"/>
                    <a:pt x="420755" y="3124361"/>
                    <a:pt x="412334" y="3121613"/>
                  </a:cubicBezTo>
                  <a:close/>
                  <a:moveTo>
                    <a:pt x="495464" y="2995052"/>
                  </a:moveTo>
                  <a:cubicBezTo>
                    <a:pt x="520420" y="2935316"/>
                    <a:pt x="437710" y="2896777"/>
                    <a:pt x="407261" y="2953950"/>
                  </a:cubicBezTo>
                  <a:cubicBezTo>
                    <a:pt x="396952" y="2973300"/>
                    <a:pt x="398492" y="2988771"/>
                    <a:pt x="412493" y="3006574"/>
                  </a:cubicBezTo>
                  <a:cubicBezTo>
                    <a:pt x="435509" y="3035831"/>
                    <a:pt x="481068" y="3029504"/>
                    <a:pt x="495462" y="2995052"/>
                  </a:cubicBezTo>
                  <a:close/>
                  <a:moveTo>
                    <a:pt x="908747" y="2997107"/>
                  </a:moveTo>
                  <a:cubicBezTo>
                    <a:pt x="911802" y="2852766"/>
                    <a:pt x="919618" y="2809956"/>
                    <a:pt x="960237" y="2715052"/>
                  </a:cubicBezTo>
                  <a:cubicBezTo>
                    <a:pt x="1006574" y="2606802"/>
                    <a:pt x="1100949" y="2494534"/>
                    <a:pt x="1199701" y="2430202"/>
                  </a:cubicBezTo>
                  <a:lnTo>
                    <a:pt x="1249249" y="2397921"/>
                  </a:lnTo>
                  <a:lnTo>
                    <a:pt x="1207602" y="2381203"/>
                  </a:lnTo>
                  <a:cubicBezTo>
                    <a:pt x="1056690" y="2320567"/>
                    <a:pt x="936806" y="2195460"/>
                    <a:pt x="885755" y="2045346"/>
                  </a:cubicBezTo>
                  <a:cubicBezTo>
                    <a:pt x="878239" y="2023248"/>
                    <a:pt x="868557" y="1985379"/>
                    <a:pt x="864237" y="1961226"/>
                  </a:cubicBezTo>
                  <a:lnTo>
                    <a:pt x="856384" y="1917261"/>
                  </a:lnTo>
                  <a:lnTo>
                    <a:pt x="824597" y="1917261"/>
                  </a:lnTo>
                  <a:cubicBezTo>
                    <a:pt x="710725" y="1917261"/>
                    <a:pt x="621398" y="1863020"/>
                    <a:pt x="575389" y="1765900"/>
                  </a:cubicBezTo>
                  <a:cubicBezTo>
                    <a:pt x="557527" y="1728192"/>
                    <a:pt x="555932" y="1719764"/>
                    <a:pt x="555932" y="1663330"/>
                  </a:cubicBezTo>
                  <a:cubicBezTo>
                    <a:pt x="555932" y="1604979"/>
                    <a:pt x="557054" y="1599599"/>
                    <a:pt x="578010" y="1557366"/>
                  </a:cubicBezTo>
                  <a:lnTo>
                    <a:pt x="600088" y="1512893"/>
                  </a:lnTo>
                  <a:lnTo>
                    <a:pt x="585625" y="1467358"/>
                  </a:lnTo>
                  <a:cubicBezTo>
                    <a:pt x="565204" y="1403049"/>
                    <a:pt x="552877" y="1325972"/>
                    <a:pt x="552877" y="1262610"/>
                  </a:cubicBezTo>
                  <a:lnTo>
                    <a:pt x="552877" y="1208300"/>
                  </a:lnTo>
                  <a:lnTo>
                    <a:pt x="329892" y="1211626"/>
                  </a:lnTo>
                  <a:lnTo>
                    <a:pt x="293237" y="1282953"/>
                  </a:lnTo>
                  <a:cubicBezTo>
                    <a:pt x="250535" y="1366058"/>
                    <a:pt x="238810" y="1380051"/>
                    <a:pt x="196822" y="1398131"/>
                  </a:cubicBezTo>
                  <a:cubicBezTo>
                    <a:pt x="131665" y="1426163"/>
                    <a:pt x="56524" y="1401756"/>
                    <a:pt x="18488" y="1340242"/>
                  </a:cubicBezTo>
                  <a:lnTo>
                    <a:pt x="0" y="1310339"/>
                  </a:lnTo>
                  <a:lnTo>
                    <a:pt x="0" y="105825"/>
                  </a:lnTo>
                  <a:lnTo>
                    <a:pt x="17209" y="76546"/>
                  </a:lnTo>
                  <a:cubicBezTo>
                    <a:pt x="36784" y="43226"/>
                    <a:pt x="73587" y="13992"/>
                    <a:pt x="107360" y="4895"/>
                  </a:cubicBezTo>
                  <a:cubicBezTo>
                    <a:pt x="122436" y="831"/>
                    <a:pt x="366866" y="-740"/>
                    <a:pt x="816608" y="323"/>
                  </a:cubicBezTo>
                  <a:lnTo>
                    <a:pt x="1502858" y="1962"/>
                  </a:lnTo>
                  <a:lnTo>
                    <a:pt x="1527293" y="15147"/>
                  </a:lnTo>
                  <a:cubicBezTo>
                    <a:pt x="1559284" y="32419"/>
                    <a:pt x="1581711" y="56641"/>
                    <a:pt x="1597055" y="90539"/>
                  </a:cubicBezTo>
                  <a:cubicBezTo>
                    <a:pt x="1608819" y="116539"/>
                    <a:pt x="1609507" y="129955"/>
                    <a:pt x="1609632" y="336434"/>
                  </a:cubicBezTo>
                  <a:lnTo>
                    <a:pt x="1609765" y="554851"/>
                  </a:lnTo>
                  <a:lnTo>
                    <a:pt x="1767803" y="554851"/>
                  </a:lnTo>
                  <a:cubicBezTo>
                    <a:pt x="1880945" y="554851"/>
                    <a:pt x="1941253" y="557483"/>
                    <a:pt x="1980097" y="564110"/>
                  </a:cubicBezTo>
                  <a:cubicBezTo>
                    <a:pt x="2280779" y="615349"/>
                    <a:pt x="2509621" y="845958"/>
                    <a:pt x="2560257" y="1148703"/>
                  </a:cubicBezTo>
                  <a:cubicBezTo>
                    <a:pt x="2577689" y="1252982"/>
                    <a:pt x="2565614" y="1387740"/>
                    <a:pt x="2529848" y="1488070"/>
                  </a:cubicBezTo>
                  <a:lnTo>
                    <a:pt x="2520589" y="1514024"/>
                  </a:lnTo>
                  <a:lnTo>
                    <a:pt x="2763146" y="1514163"/>
                  </a:lnTo>
                  <a:cubicBezTo>
                    <a:pt x="2993951" y="1514301"/>
                    <a:pt x="3007043" y="1514901"/>
                    <a:pt x="3033204" y="1526747"/>
                  </a:cubicBezTo>
                  <a:cubicBezTo>
                    <a:pt x="3067099" y="1542080"/>
                    <a:pt x="3091321" y="1564524"/>
                    <a:pt x="3108592" y="1596505"/>
                  </a:cubicBezTo>
                  <a:cubicBezTo>
                    <a:pt x="3121753" y="1620889"/>
                    <a:pt x="3121776" y="1622251"/>
                    <a:pt x="3123462" y="2106167"/>
                  </a:cubicBezTo>
                  <a:cubicBezTo>
                    <a:pt x="3125332" y="2654900"/>
                    <a:pt x="3127294" y="2629939"/>
                    <a:pt x="3078760" y="2678453"/>
                  </a:cubicBezTo>
                  <a:cubicBezTo>
                    <a:pt x="3037937" y="2719278"/>
                    <a:pt x="3015055" y="2723664"/>
                    <a:pt x="2841167" y="2723919"/>
                  </a:cubicBezTo>
                  <a:lnTo>
                    <a:pt x="2694131" y="2724127"/>
                  </a:lnTo>
                  <a:lnTo>
                    <a:pt x="2648321" y="2786495"/>
                  </a:lnTo>
                  <a:cubicBezTo>
                    <a:pt x="2623107" y="2820785"/>
                    <a:pt x="2593067" y="2859370"/>
                    <a:pt x="2581522" y="2872255"/>
                  </a:cubicBezTo>
                  <a:cubicBezTo>
                    <a:pt x="2511745" y="2950163"/>
                    <a:pt x="2391886" y="2938364"/>
                    <a:pt x="2339149" y="2848378"/>
                  </a:cubicBezTo>
                  <a:cubicBezTo>
                    <a:pt x="2325873" y="2825726"/>
                    <a:pt x="2321855" y="2809886"/>
                    <a:pt x="2319639" y="2771763"/>
                  </a:cubicBezTo>
                  <a:lnTo>
                    <a:pt x="2316845" y="2723711"/>
                  </a:lnTo>
                  <a:lnTo>
                    <a:pt x="2166415" y="2723711"/>
                  </a:lnTo>
                  <a:lnTo>
                    <a:pt x="2181262" y="2767330"/>
                  </a:lnTo>
                  <a:cubicBezTo>
                    <a:pt x="2207007" y="2843045"/>
                    <a:pt x="2214580" y="2899802"/>
                    <a:pt x="2214580" y="3017635"/>
                  </a:cubicBezTo>
                  <a:lnTo>
                    <a:pt x="2214580" y="3126924"/>
                  </a:lnTo>
                  <a:lnTo>
                    <a:pt x="906004" y="3126924"/>
                  </a:lnTo>
                  <a:close/>
                  <a:moveTo>
                    <a:pt x="1432607" y="3024747"/>
                  </a:moveTo>
                  <a:cubicBezTo>
                    <a:pt x="1432607" y="3022323"/>
                    <a:pt x="1414740" y="3002326"/>
                    <a:pt x="1392902" y="2980320"/>
                  </a:cubicBezTo>
                  <a:lnTo>
                    <a:pt x="1353197" y="2940304"/>
                  </a:lnTo>
                  <a:lnTo>
                    <a:pt x="1386398" y="2824480"/>
                  </a:lnTo>
                  <a:cubicBezTo>
                    <a:pt x="1404659" y="2760772"/>
                    <a:pt x="1418843" y="2707917"/>
                    <a:pt x="1417920" y="2706993"/>
                  </a:cubicBezTo>
                  <a:cubicBezTo>
                    <a:pt x="1416996" y="2706069"/>
                    <a:pt x="1391745" y="2723688"/>
                    <a:pt x="1361805" y="2746132"/>
                  </a:cubicBezTo>
                  <a:cubicBezTo>
                    <a:pt x="1331864" y="2768600"/>
                    <a:pt x="1298878" y="2793353"/>
                    <a:pt x="1288502" y="2801135"/>
                  </a:cubicBezTo>
                  <a:lnTo>
                    <a:pt x="1269635" y="2815289"/>
                  </a:lnTo>
                  <a:lnTo>
                    <a:pt x="1252383" y="2674804"/>
                  </a:lnTo>
                  <a:cubicBezTo>
                    <a:pt x="1242895" y="2597542"/>
                    <a:pt x="1233128" y="2534319"/>
                    <a:pt x="1230678" y="2534319"/>
                  </a:cubicBezTo>
                  <a:cubicBezTo>
                    <a:pt x="1221692" y="2534319"/>
                    <a:pt x="1168534" y="2582279"/>
                    <a:pt x="1138652" y="2617377"/>
                  </a:cubicBezTo>
                  <a:cubicBezTo>
                    <a:pt x="1058999" y="2710872"/>
                    <a:pt x="1015290" y="2820646"/>
                    <a:pt x="1007156" y="2947623"/>
                  </a:cubicBezTo>
                  <a:cubicBezTo>
                    <a:pt x="1004971" y="2981706"/>
                    <a:pt x="1004872" y="3014009"/>
                    <a:pt x="1006936" y="3019390"/>
                  </a:cubicBezTo>
                  <a:cubicBezTo>
                    <a:pt x="1010277" y="3028119"/>
                    <a:pt x="1033845" y="3029181"/>
                    <a:pt x="1221648" y="3029181"/>
                  </a:cubicBezTo>
                  <a:cubicBezTo>
                    <a:pt x="1337674" y="3029181"/>
                    <a:pt x="1432605" y="3027195"/>
                    <a:pt x="1432605" y="3024747"/>
                  </a:cubicBezTo>
                  <a:close/>
                  <a:moveTo>
                    <a:pt x="2113355" y="2965034"/>
                  </a:moveTo>
                  <a:cubicBezTo>
                    <a:pt x="2112616" y="2859878"/>
                    <a:pt x="2081191" y="2757562"/>
                    <a:pt x="2022559" y="2669331"/>
                  </a:cubicBezTo>
                  <a:cubicBezTo>
                    <a:pt x="1992912" y="2624743"/>
                    <a:pt x="1906822" y="2534319"/>
                    <a:pt x="1894009" y="2534319"/>
                  </a:cubicBezTo>
                  <a:cubicBezTo>
                    <a:pt x="1889020" y="2534319"/>
                    <a:pt x="1881167" y="2579185"/>
                    <a:pt x="1869426" y="2674804"/>
                  </a:cubicBezTo>
                  <a:lnTo>
                    <a:pt x="1852173" y="2815289"/>
                  </a:lnTo>
                  <a:lnTo>
                    <a:pt x="1833306" y="2801135"/>
                  </a:lnTo>
                  <a:cubicBezTo>
                    <a:pt x="1822930" y="2793353"/>
                    <a:pt x="1789944" y="2768600"/>
                    <a:pt x="1760004" y="2746132"/>
                  </a:cubicBezTo>
                  <a:cubicBezTo>
                    <a:pt x="1730063" y="2723688"/>
                    <a:pt x="1704812" y="2706069"/>
                    <a:pt x="1703888" y="2706993"/>
                  </a:cubicBezTo>
                  <a:cubicBezTo>
                    <a:pt x="1702965" y="2707917"/>
                    <a:pt x="1717151" y="2760772"/>
                    <a:pt x="1735411" y="2824480"/>
                  </a:cubicBezTo>
                  <a:lnTo>
                    <a:pt x="1768611" y="2940304"/>
                  </a:lnTo>
                  <a:lnTo>
                    <a:pt x="1728906" y="2980320"/>
                  </a:lnTo>
                  <a:cubicBezTo>
                    <a:pt x="1707068" y="3002326"/>
                    <a:pt x="1689201" y="3022346"/>
                    <a:pt x="1689201" y="3024840"/>
                  </a:cubicBezTo>
                  <a:cubicBezTo>
                    <a:pt x="1689201" y="3027310"/>
                    <a:pt x="1784733" y="3028626"/>
                    <a:pt x="1901495" y="3027726"/>
                  </a:cubicBezTo>
                  <a:lnTo>
                    <a:pt x="2113794" y="3026133"/>
                  </a:lnTo>
                  <a:close/>
                  <a:moveTo>
                    <a:pt x="1608412" y="2960300"/>
                  </a:moveTo>
                  <a:cubicBezTo>
                    <a:pt x="1632689" y="2935870"/>
                    <a:pt x="1652551" y="2911740"/>
                    <a:pt x="1652551" y="2906706"/>
                  </a:cubicBezTo>
                  <a:cubicBezTo>
                    <a:pt x="1652551" y="2901649"/>
                    <a:pt x="1640018" y="2853597"/>
                    <a:pt x="1624700" y="2799934"/>
                  </a:cubicBezTo>
                  <a:cubicBezTo>
                    <a:pt x="1572007" y="2615276"/>
                    <a:pt x="1573628" y="2619848"/>
                    <a:pt x="1560914" y="2619848"/>
                  </a:cubicBezTo>
                  <a:cubicBezTo>
                    <a:pt x="1548201" y="2619848"/>
                    <a:pt x="1549822" y="2615276"/>
                    <a:pt x="1497129" y="2799934"/>
                  </a:cubicBezTo>
                  <a:cubicBezTo>
                    <a:pt x="1481811" y="2853597"/>
                    <a:pt x="1469278" y="2901649"/>
                    <a:pt x="1469278" y="2906706"/>
                  </a:cubicBezTo>
                  <a:cubicBezTo>
                    <a:pt x="1469278" y="2915065"/>
                    <a:pt x="1553096" y="3004750"/>
                    <a:pt x="1560917" y="3004750"/>
                  </a:cubicBezTo>
                  <a:cubicBezTo>
                    <a:pt x="1562764" y="3004750"/>
                    <a:pt x="1584141" y="2984753"/>
                    <a:pt x="1608415" y="2960300"/>
                  </a:cubicBezTo>
                  <a:close/>
                  <a:moveTo>
                    <a:pt x="2492534" y="2817575"/>
                  </a:moveTo>
                  <a:cubicBezTo>
                    <a:pt x="2498122" y="2815428"/>
                    <a:pt x="2535528" y="2770054"/>
                    <a:pt x="2575657" y="2716761"/>
                  </a:cubicBezTo>
                  <a:lnTo>
                    <a:pt x="2648621" y="2619848"/>
                  </a:lnTo>
                  <a:lnTo>
                    <a:pt x="2819924" y="2619848"/>
                  </a:lnTo>
                  <a:cubicBezTo>
                    <a:pt x="2923781" y="2619848"/>
                    <a:pt x="2995798" y="2617423"/>
                    <a:pt x="3002795" y="2613660"/>
                  </a:cubicBezTo>
                  <a:cubicBezTo>
                    <a:pt x="3009144" y="2610265"/>
                    <a:pt x="3017202" y="2597219"/>
                    <a:pt x="3020689" y="2584657"/>
                  </a:cubicBezTo>
                  <a:cubicBezTo>
                    <a:pt x="3024799" y="2569833"/>
                    <a:pt x="3027039" y="2404710"/>
                    <a:pt x="3027062" y="2114111"/>
                  </a:cubicBezTo>
                  <a:cubicBezTo>
                    <a:pt x="3027108" y="1626084"/>
                    <a:pt x="3027431" y="1630818"/>
                    <a:pt x="2993189" y="1617795"/>
                  </a:cubicBezTo>
                  <a:cubicBezTo>
                    <a:pt x="2983168" y="1613985"/>
                    <a:pt x="2899168" y="1612253"/>
                    <a:pt x="2772798" y="1613246"/>
                  </a:cubicBezTo>
                  <a:lnTo>
                    <a:pt x="2568615" y="1614839"/>
                  </a:lnTo>
                  <a:lnTo>
                    <a:pt x="2566953" y="1669911"/>
                  </a:lnTo>
                  <a:cubicBezTo>
                    <a:pt x="2565567" y="1716832"/>
                    <a:pt x="2562473" y="1731056"/>
                    <a:pt x="2546126" y="1765969"/>
                  </a:cubicBezTo>
                  <a:cubicBezTo>
                    <a:pt x="2500847" y="1862743"/>
                    <a:pt x="2411120" y="1917261"/>
                    <a:pt x="2297195" y="1917261"/>
                  </a:cubicBezTo>
                  <a:lnTo>
                    <a:pt x="2265401" y="1917261"/>
                  </a:lnTo>
                  <a:lnTo>
                    <a:pt x="2257550" y="1961226"/>
                  </a:lnTo>
                  <a:cubicBezTo>
                    <a:pt x="2224070" y="2148655"/>
                    <a:pt x="2096823" y="2306343"/>
                    <a:pt x="1921001" y="2378317"/>
                  </a:cubicBezTo>
                  <a:lnTo>
                    <a:pt x="1873570" y="2397713"/>
                  </a:lnTo>
                  <a:lnTo>
                    <a:pt x="1920369" y="2428863"/>
                  </a:lnTo>
                  <a:cubicBezTo>
                    <a:pt x="1983621" y="2470935"/>
                    <a:pt x="2027537" y="2511413"/>
                    <a:pt x="2074010" y="2570410"/>
                  </a:cubicBezTo>
                  <a:lnTo>
                    <a:pt x="2112939" y="2619848"/>
                  </a:lnTo>
                  <a:lnTo>
                    <a:pt x="2416177" y="2619848"/>
                  </a:lnTo>
                  <a:lnTo>
                    <a:pt x="2416177" y="2699580"/>
                  </a:lnTo>
                  <a:cubicBezTo>
                    <a:pt x="2416177" y="2779937"/>
                    <a:pt x="2422688" y="2809586"/>
                    <a:pt x="2442014" y="2817368"/>
                  </a:cubicBezTo>
                  <a:cubicBezTo>
                    <a:pt x="2453397" y="2821939"/>
                    <a:pt x="2480851" y="2822055"/>
                    <a:pt x="2492534" y="2817552"/>
                  </a:cubicBezTo>
                  <a:close/>
                  <a:moveTo>
                    <a:pt x="2617750" y="2519010"/>
                  </a:moveTo>
                  <a:lnTo>
                    <a:pt x="2584524" y="2485367"/>
                  </a:lnTo>
                  <a:lnTo>
                    <a:pt x="2700019" y="2369358"/>
                  </a:lnTo>
                  <a:lnTo>
                    <a:pt x="2584386" y="2253234"/>
                  </a:lnTo>
                  <a:lnTo>
                    <a:pt x="2654394" y="2183222"/>
                  </a:lnTo>
                  <a:lnTo>
                    <a:pt x="2770512" y="2298861"/>
                  </a:lnTo>
                  <a:lnTo>
                    <a:pt x="2886653" y="2183222"/>
                  </a:lnTo>
                  <a:lnTo>
                    <a:pt x="2956661" y="2253234"/>
                  </a:lnTo>
                  <a:lnTo>
                    <a:pt x="2841005" y="2369358"/>
                  </a:lnTo>
                  <a:lnTo>
                    <a:pt x="2956661" y="2485505"/>
                  </a:lnTo>
                  <a:lnTo>
                    <a:pt x="2886653" y="2555517"/>
                  </a:lnTo>
                  <a:lnTo>
                    <a:pt x="2770512" y="2439854"/>
                  </a:lnTo>
                  <a:lnTo>
                    <a:pt x="2713896" y="2496265"/>
                  </a:lnTo>
                  <a:cubicBezTo>
                    <a:pt x="2682748" y="2527277"/>
                    <a:pt x="2655848" y="2552654"/>
                    <a:pt x="2654116" y="2552654"/>
                  </a:cubicBezTo>
                  <a:cubicBezTo>
                    <a:pt x="2652385" y="2552654"/>
                    <a:pt x="2636014" y="2537506"/>
                    <a:pt x="2617750" y="2519010"/>
                  </a:cubicBezTo>
                  <a:close/>
                  <a:moveTo>
                    <a:pt x="2215873" y="2471697"/>
                  </a:moveTo>
                  <a:lnTo>
                    <a:pt x="2217651" y="2421290"/>
                  </a:lnTo>
                  <a:lnTo>
                    <a:pt x="2520057" y="2418033"/>
                  </a:lnTo>
                  <a:lnTo>
                    <a:pt x="2520057" y="2522104"/>
                  </a:lnTo>
                  <a:lnTo>
                    <a:pt x="2214095" y="2522104"/>
                  </a:lnTo>
                  <a:close/>
                  <a:moveTo>
                    <a:pt x="2215873" y="2270090"/>
                  </a:moveTo>
                  <a:lnTo>
                    <a:pt x="2217651" y="2219682"/>
                  </a:lnTo>
                  <a:lnTo>
                    <a:pt x="2520057" y="2216403"/>
                  </a:lnTo>
                  <a:lnTo>
                    <a:pt x="2520057" y="2320497"/>
                  </a:lnTo>
                  <a:lnTo>
                    <a:pt x="2214095" y="2320497"/>
                  </a:lnTo>
                  <a:close/>
                  <a:moveTo>
                    <a:pt x="2622253" y="2016436"/>
                  </a:moveTo>
                  <a:lnTo>
                    <a:pt x="2587295" y="1981107"/>
                  </a:lnTo>
                  <a:lnTo>
                    <a:pt x="2642248" y="1926405"/>
                  </a:lnTo>
                  <a:cubicBezTo>
                    <a:pt x="2672496" y="1896317"/>
                    <a:pt x="2697225" y="1868839"/>
                    <a:pt x="2697225" y="1865329"/>
                  </a:cubicBezTo>
                  <a:cubicBezTo>
                    <a:pt x="2697225" y="1861843"/>
                    <a:pt x="2672496" y="1834364"/>
                    <a:pt x="2642248" y="1804254"/>
                  </a:cubicBezTo>
                  <a:lnTo>
                    <a:pt x="2587295" y="1749551"/>
                  </a:lnTo>
                  <a:lnTo>
                    <a:pt x="2657211" y="1678917"/>
                  </a:lnTo>
                  <a:lnTo>
                    <a:pt x="2773814" y="1795087"/>
                  </a:lnTo>
                  <a:lnTo>
                    <a:pt x="2889332" y="1679078"/>
                  </a:lnTo>
                  <a:lnTo>
                    <a:pt x="2921565" y="1710897"/>
                  </a:lnTo>
                  <a:cubicBezTo>
                    <a:pt x="2939298" y="1728400"/>
                    <a:pt x="2953798" y="1745626"/>
                    <a:pt x="2953798" y="1749182"/>
                  </a:cubicBezTo>
                  <a:cubicBezTo>
                    <a:pt x="2953798" y="1752715"/>
                    <a:pt x="2929046" y="1780262"/>
                    <a:pt x="2898799" y="1810350"/>
                  </a:cubicBezTo>
                  <a:lnTo>
                    <a:pt x="2843822" y="1865098"/>
                  </a:lnTo>
                  <a:lnTo>
                    <a:pt x="2959986" y="1981707"/>
                  </a:lnTo>
                  <a:lnTo>
                    <a:pt x="2889355" y="2051627"/>
                  </a:lnTo>
                  <a:lnTo>
                    <a:pt x="2834655" y="1996671"/>
                  </a:lnTo>
                  <a:cubicBezTo>
                    <a:pt x="2804569" y="1966444"/>
                    <a:pt x="2777185" y="1941714"/>
                    <a:pt x="2773814" y="1941714"/>
                  </a:cubicBezTo>
                  <a:cubicBezTo>
                    <a:pt x="2770443" y="1941714"/>
                    <a:pt x="2742827" y="1966467"/>
                    <a:pt x="2712441" y="1996717"/>
                  </a:cubicBezTo>
                  <a:lnTo>
                    <a:pt x="2657187" y="2051742"/>
                  </a:lnTo>
                  <a:close/>
                  <a:moveTo>
                    <a:pt x="1399739" y="2592416"/>
                  </a:moveTo>
                  <a:lnTo>
                    <a:pt x="1444323" y="2558865"/>
                  </a:lnTo>
                  <a:lnTo>
                    <a:pt x="1413263" y="2506888"/>
                  </a:lnTo>
                  <a:cubicBezTo>
                    <a:pt x="1396178" y="2478301"/>
                    <a:pt x="1379709" y="2454910"/>
                    <a:pt x="1376663" y="2454910"/>
                  </a:cubicBezTo>
                  <a:cubicBezTo>
                    <a:pt x="1363114" y="2454910"/>
                    <a:pt x="1328773" y="2473359"/>
                    <a:pt x="1328946" y="2480564"/>
                  </a:cubicBezTo>
                  <a:cubicBezTo>
                    <a:pt x="1329052" y="2484928"/>
                    <a:pt x="1333088" y="2517370"/>
                    <a:pt x="1337916" y="2552654"/>
                  </a:cubicBezTo>
                  <a:cubicBezTo>
                    <a:pt x="1342744" y="2587936"/>
                    <a:pt x="1346780" y="2618878"/>
                    <a:pt x="1346887" y="2621395"/>
                  </a:cubicBezTo>
                  <a:cubicBezTo>
                    <a:pt x="1347258" y="2630215"/>
                    <a:pt x="1355522" y="2625690"/>
                    <a:pt x="1399739" y="2592416"/>
                  </a:cubicBezTo>
                  <a:close/>
                  <a:moveTo>
                    <a:pt x="1774924" y="2621395"/>
                  </a:moveTo>
                  <a:cubicBezTo>
                    <a:pt x="1775030" y="2618878"/>
                    <a:pt x="1779066" y="2587936"/>
                    <a:pt x="1783894" y="2552654"/>
                  </a:cubicBezTo>
                  <a:cubicBezTo>
                    <a:pt x="1788720" y="2517370"/>
                    <a:pt x="1792758" y="2485136"/>
                    <a:pt x="1792865" y="2481025"/>
                  </a:cubicBezTo>
                  <a:cubicBezTo>
                    <a:pt x="1793075" y="2472897"/>
                    <a:pt x="1762379" y="2454910"/>
                    <a:pt x="1748311" y="2454910"/>
                  </a:cubicBezTo>
                  <a:cubicBezTo>
                    <a:pt x="1743524" y="2454910"/>
                    <a:pt x="1725644" y="2478278"/>
                    <a:pt x="1708573" y="2506841"/>
                  </a:cubicBezTo>
                  <a:lnTo>
                    <a:pt x="1677536" y="2558772"/>
                  </a:lnTo>
                  <a:lnTo>
                    <a:pt x="1721552" y="2592254"/>
                  </a:lnTo>
                  <a:cubicBezTo>
                    <a:pt x="1764838" y="2625182"/>
                    <a:pt x="1774541" y="2630493"/>
                    <a:pt x="1774926" y="2621395"/>
                  </a:cubicBezTo>
                  <a:close/>
                  <a:moveTo>
                    <a:pt x="1610858" y="2474768"/>
                  </a:moveTo>
                  <a:lnTo>
                    <a:pt x="1639353" y="2427408"/>
                  </a:lnTo>
                  <a:lnTo>
                    <a:pt x="1600132" y="2422860"/>
                  </a:lnTo>
                  <a:cubicBezTo>
                    <a:pt x="1578560" y="2420342"/>
                    <a:pt x="1543262" y="2420342"/>
                    <a:pt x="1521690" y="2422860"/>
                  </a:cubicBezTo>
                  <a:lnTo>
                    <a:pt x="1482469" y="2427408"/>
                  </a:lnTo>
                  <a:lnTo>
                    <a:pt x="1510964" y="2474768"/>
                  </a:lnTo>
                  <a:cubicBezTo>
                    <a:pt x="1537841" y="2519426"/>
                    <a:pt x="1540676" y="2522104"/>
                    <a:pt x="1560912" y="2522104"/>
                  </a:cubicBezTo>
                  <a:cubicBezTo>
                    <a:pt x="1581148" y="2522104"/>
                    <a:pt x="1583983" y="2519426"/>
                    <a:pt x="1610860" y="2474768"/>
                  </a:cubicBezTo>
                  <a:close/>
                  <a:moveTo>
                    <a:pt x="1826659" y="2306297"/>
                  </a:moveTo>
                  <a:cubicBezTo>
                    <a:pt x="1980187" y="2262863"/>
                    <a:pt x="2095807" y="2150363"/>
                    <a:pt x="2148013" y="1993622"/>
                  </a:cubicBezTo>
                  <a:cubicBezTo>
                    <a:pt x="2161866" y="1952059"/>
                    <a:pt x="2162328" y="1943769"/>
                    <a:pt x="2164360" y="1695957"/>
                  </a:cubicBezTo>
                  <a:cubicBezTo>
                    <a:pt x="2166715" y="1410970"/>
                    <a:pt x="2167039" y="1413556"/>
                    <a:pt x="2124115" y="1380813"/>
                  </a:cubicBezTo>
                  <a:lnTo>
                    <a:pt x="2102549" y="1364372"/>
                  </a:lnTo>
                  <a:lnTo>
                    <a:pt x="1307382" y="1358253"/>
                  </a:lnTo>
                  <a:lnTo>
                    <a:pt x="1271674" y="1340173"/>
                  </a:lnTo>
                  <a:cubicBezTo>
                    <a:pt x="1229360" y="1318768"/>
                    <a:pt x="1187239" y="1274248"/>
                    <a:pt x="1172330" y="1235224"/>
                  </a:cubicBezTo>
                  <a:lnTo>
                    <a:pt x="1161638" y="1207215"/>
                  </a:lnTo>
                  <a:lnTo>
                    <a:pt x="1134205" y="1210979"/>
                  </a:lnTo>
                  <a:cubicBezTo>
                    <a:pt x="1068556" y="1219961"/>
                    <a:pt x="1004713" y="1265497"/>
                    <a:pt x="976144" y="1323686"/>
                  </a:cubicBezTo>
                  <a:lnTo>
                    <a:pt x="959161" y="1358253"/>
                  </a:lnTo>
                  <a:lnTo>
                    <a:pt x="957390" y="1633173"/>
                  </a:lnTo>
                  <a:cubicBezTo>
                    <a:pt x="955407" y="1941368"/>
                    <a:pt x="957852" y="1967714"/>
                    <a:pt x="996149" y="2050588"/>
                  </a:cubicBezTo>
                  <a:cubicBezTo>
                    <a:pt x="1059546" y="2187817"/>
                    <a:pt x="1176944" y="2281866"/>
                    <a:pt x="1321783" y="2311446"/>
                  </a:cubicBezTo>
                  <a:cubicBezTo>
                    <a:pt x="1385262" y="2324423"/>
                    <a:pt x="1776720" y="2320428"/>
                    <a:pt x="1826663" y="2306297"/>
                  </a:cubicBezTo>
                  <a:close/>
                  <a:moveTo>
                    <a:pt x="1312173" y="2187540"/>
                  </a:moveTo>
                  <a:cubicBezTo>
                    <a:pt x="1318288" y="2135909"/>
                    <a:pt x="1339539" y="2090581"/>
                    <a:pt x="1376178" y="2051003"/>
                  </a:cubicBezTo>
                  <a:cubicBezTo>
                    <a:pt x="1478653" y="1940329"/>
                    <a:pt x="1641294" y="1939613"/>
                    <a:pt x="1743998" y="2049410"/>
                  </a:cubicBezTo>
                  <a:cubicBezTo>
                    <a:pt x="1782216" y="2090281"/>
                    <a:pt x="1803384" y="2134823"/>
                    <a:pt x="1809630" y="2187540"/>
                  </a:cubicBezTo>
                  <a:lnTo>
                    <a:pt x="1813075" y="2216635"/>
                  </a:lnTo>
                  <a:lnTo>
                    <a:pt x="1714180" y="2216635"/>
                  </a:lnTo>
                  <a:lnTo>
                    <a:pt x="1710021" y="2193728"/>
                  </a:lnTo>
                  <a:cubicBezTo>
                    <a:pt x="1703877" y="2159854"/>
                    <a:pt x="1686696" y="2129443"/>
                    <a:pt x="1660974" y="2106837"/>
                  </a:cubicBezTo>
                  <a:cubicBezTo>
                    <a:pt x="1629599" y="2079290"/>
                    <a:pt x="1604358" y="2070007"/>
                    <a:pt x="1560896" y="2070007"/>
                  </a:cubicBezTo>
                  <a:cubicBezTo>
                    <a:pt x="1517434" y="2070007"/>
                    <a:pt x="1492193" y="2079290"/>
                    <a:pt x="1460818" y="2106837"/>
                  </a:cubicBezTo>
                  <a:cubicBezTo>
                    <a:pt x="1435096" y="2129443"/>
                    <a:pt x="1417915" y="2159854"/>
                    <a:pt x="1411771" y="2193728"/>
                  </a:cubicBezTo>
                  <a:lnTo>
                    <a:pt x="1407615" y="2216635"/>
                  </a:lnTo>
                  <a:lnTo>
                    <a:pt x="1308719" y="2216635"/>
                  </a:lnTo>
                  <a:close/>
                  <a:moveTo>
                    <a:pt x="1218755" y="1759180"/>
                  </a:moveTo>
                  <a:cubicBezTo>
                    <a:pt x="1187553" y="1748951"/>
                    <a:pt x="1164478" y="1733642"/>
                    <a:pt x="1143766" y="1709442"/>
                  </a:cubicBezTo>
                  <a:cubicBezTo>
                    <a:pt x="1085601" y="1641486"/>
                    <a:pt x="1102394" y="1533929"/>
                    <a:pt x="1178518" y="1486869"/>
                  </a:cubicBezTo>
                  <a:cubicBezTo>
                    <a:pt x="1221761" y="1460130"/>
                    <a:pt x="1279167" y="1457405"/>
                    <a:pt x="1325145" y="1479896"/>
                  </a:cubicBezTo>
                  <a:cubicBezTo>
                    <a:pt x="1461534" y="1546629"/>
                    <a:pt x="1419989" y="1752115"/>
                    <a:pt x="1268109" y="1761997"/>
                  </a:cubicBezTo>
                  <a:cubicBezTo>
                    <a:pt x="1249386" y="1763221"/>
                    <a:pt x="1227176" y="1761951"/>
                    <a:pt x="1218755" y="1759203"/>
                  </a:cubicBezTo>
                  <a:close/>
                  <a:moveTo>
                    <a:pt x="1297823" y="1645873"/>
                  </a:moveTo>
                  <a:cubicBezTo>
                    <a:pt x="1301358" y="1641601"/>
                    <a:pt x="1305962" y="1629571"/>
                    <a:pt x="1308057" y="1619088"/>
                  </a:cubicBezTo>
                  <a:cubicBezTo>
                    <a:pt x="1311215" y="1603294"/>
                    <a:pt x="1308712" y="1596920"/>
                    <a:pt x="1293291" y="1581496"/>
                  </a:cubicBezTo>
                  <a:cubicBezTo>
                    <a:pt x="1281931" y="1570135"/>
                    <a:pt x="1268418" y="1562931"/>
                    <a:pt x="1258506" y="1562931"/>
                  </a:cubicBezTo>
                  <a:cubicBezTo>
                    <a:pt x="1237864" y="1562931"/>
                    <a:pt x="1206577" y="1593434"/>
                    <a:pt x="1206577" y="1613546"/>
                  </a:cubicBezTo>
                  <a:cubicBezTo>
                    <a:pt x="1206577" y="1632850"/>
                    <a:pt x="1227441" y="1659243"/>
                    <a:pt x="1244878" y="1662037"/>
                  </a:cubicBezTo>
                  <a:cubicBezTo>
                    <a:pt x="1261621" y="1664715"/>
                    <a:pt x="1289165" y="1656310"/>
                    <a:pt x="1297821" y="1645873"/>
                  </a:cubicBezTo>
                  <a:close/>
                  <a:moveTo>
                    <a:pt x="1823553" y="1759180"/>
                  </a:moveTo>
                  <a:cubicBezTo>
                    <a:pt x="1750463" y="1735212"/>
                    <a:pt x="1708578" y="1673213"/>
                    <a:pt x="1715311" y="1598976"/>
                  </a:cubicBezTo>
                  <a:cubicBezTo>
                    <a:pt x="1719716" y="1550392"/>
                    <a:pt x="1743296" y="1511623"/>
                    <a:pt x="1783567" y="1486708"/>
                  </a:cubicBezTo>
                  <a:cubicBezTo>
                    <a:pt x="1810455" y="1470082"/>
                    <a:pt x="1818499" y="1468212"/>
                    <a:pt x="1863302" y="1468212"/>
                  </a:cubicBezTo>
                  <a:cubicBezTo>
                    <a:pt x="1908106" y="1468212"/>
                    <a:pt x="1916150" y="1470082"/>
                    <a:pt x="1943038" y="1486708"/>
                  </a:cubicBezTo>
                  <a:cubicBezTo>
                    <a:pt x="2040384" y="1546906"/>
                    <a:pt x="2034002" y="1694965"/>
                    <a:pt x="1931816" y="1747081"/>
                  </a:cubicBezTo>
                  <a:cubicBezTo>
                    <a:pt x="1904806" y="1760866"/>
                    <a:pt x="1848031" y="1767216"/>
                    <a:pt x="1823553" y="1759180"/>
                  </a:cubicBezTo>
                  <a:close/>
                  <a:moveTo>
                    <a:pt x="1902622" y="1645873"/>
                  </a:moveTo>
                  <a:cubicBezTo>
                    <a:pt x="1906157" y="1641601"/>
                    <a:pt x="1910761" y="1629571"/>
                    <a:pt x="1912855" y="1619088"/>
                  </a:cubicBezTo>
                  <a:cubicBezTo>
                    <a:pt x="1916014" y="1603294"/>
                    <a:pt x="1913511" y="1596920"/>
                    <a:pt x="1898087" y="1581496"/>
                  </a:cubicBezTo>
                  <a:cubicBezTo>
                    <a:pt x="1874180" y="1557597"/>
                    <a:pt x="1852649" y="1557366"/>
                    <a:pt x="1829231" y="1580780"/>
                  </a:cubicBezTo>
                  <a:cubicBezTo>
                    <a:pt x="1809956" y="1600061"/>
                    <a:pt x="1808069" y="1608420"/>
                    <a:pt x="1817437" y="1633058"/>
                  </a:cubicBezTo>
                  <a:cubicBezTo>
                    <a:pt x="1829042" y="1663584"/>
                    <a:pt x="1881388" y="1671458"/>
                    <a:pt x="1902622" y="1645873"/>
                  </a:cubicBezTo>
                  <a:close/>
                  <a:moveTo>
                    <a:pt x="852247" y="1663723"/>
                  </a:moveTo>
                  <a:lnTo>
                    <a:pt x="852247" y="1514047"/>
                  </a:lnTo>
                  <a:lnTo>
                    <a:pt x="810179" y="1514047"/>
                  </a:lnTo>
                  <a:cubicBezTo>
                    <a:pt x="733441" y="1514047"/>
                    <a:pt x="671609" y="1561615"/>
                    <a:pt x="657025" y="1631880"/>
                  </a:cubicBezTo>
                  <a:cubicBezTo>
                    <a:pt x="636739" y="1729601"/>
                    <a:pt x="707626" y="1813398"/>
                    <a:pt x="810579" y="1813398"/>
                  </a:cubicBezTo>
                  <a:lnTo>
                    <a:pt x="852247" y="1813398"/>
                  </a:lnTo>
                  <a:close/>
                  <a:moveTo>
                    <a:pt x="2386368" y="1796357"/>
                  </a:moveTo>
                  <a:cubicBezTo>
                    <a:pt x="2495929" y="1739114"/>
                    <a:pt x="2495744" y="1586483"/>
                    <a:pt x="2386045" y="1530858"/>
                  </a:cubicBezTo>
                  <a:cubicBezTo>
                    <a:pt x="2359538" y="1517395"/>
                    <a:pt x="2344599" y="1514047"/>
                    <a:pt x="2311257" y="1514047"/>
                  </a:cubicBezTo>
                  <a:lnTo>
                    <a:pt x="2269580" y="1514047"/>
                  </a:lnTo>
                  <a:lnTo>
                    <a:pt x="2269580" y="1813421"/>
                  </a:lnTo>
                  <a:lnTo>
                    <a:pt x="2311650" y="1813421"/>
                  </a:lnTo>
                  <a:cubicBezTo>
                    <a:pt x="2345822" y="1813421"/>
                    <a:pt x="2359838" y="1810211"/>
                    <a:pt x="2386368" y="1796357"/>
                  </a:cubicBezTo>
                  <a:close/>
                  <a:moveTo>
                    <a:pt x="730079" y="1425355"/>
                  </a:moveTo>
                  <a:cubicBezTo>
                    <a:pt x="745198" y="1419790"/>
                    <a:pt x="779563" y="1413440"/>
                    <a:pt x="806444" y="1411200"/>
                  </a:cubicBezTo>
                  <a:lnTo>
                    <a:pt x="855318" y="1407113"/>
                  </a:lnTo>
                  <a:lnTo>
                    <a:pt x="859460" y="1369568"/>
                  </a:lnTo>
                  <a:cubicBezTo>
                    <a:pt x="866793" y="1303089"/>
                    <a:pt x="899876" y="1240351"/>
                    <a:pt x="954557" y="1189228"/>
                  </a:cubicBezTo>
                  <a:cubicBezTo>
                    <a:pt x="1002642" y="1144269"/>
                    <a:pt x="1080302" y="1110811"/>
                    <a:pt x="1136618" y="1110811"/>
                  </a:cubicBezTo>
                  <a:cubicBezTo>
                    <a:pt x="1161250" y="1110811"/>
                    <a:pt x="1162545" y="1109841"/>
                    <a:pt x="1172603" y="1083494"/>
                  </a:cubicBezTo>
                  <a:cubicBezTo>
                    <a:pt x="1187410" y="1044724"/>
                    <a:pt x="1231304" y="998496"/>
                    <a:pt x="1272556" y="978246"/>
                  </a:cubicBezTo>
                  <a:cubicBezTo>
                    <a:pt x="1302464" y="963560"/>
                    <a:pt x="1314741" y="961135"/>
                    <a:pt x="1359323" y="961182"/>
                  </a:cubicBezTo>
                  <a:cubicBezTo>
                    <a:pt x="1399450" y="961228"/>
                    <a:pt x="1417742" y="964230"/>
                    <a:pt x="1439816" y="974390"/>
                  </a:cubicBezTo>
                  <a:cubicBezTo>
                    <a:pt x="1501172" y="1002630"/>
                    <a:pt x="1549081" y="1065853"/>
                    <a:pt x="1558220" y="1130669"/>
                  </a:cubicBezTo>
                  <a:lnTo>
                    <a:pt x="1562314" y="1159694"/>
                  </a:lnTo>
                  <a:lnTo>
                    <a:pt x="1512555" y="1159694"/>
                  </a:lnTo>
                  <a:cubicBezTo>
                    <a:pt x="1478075" y="1159694"/>
                    <a:pt x="1462074" y="1157339"/>
                    <a:pt x="1460444" y="1152051"/>
                  </a:cubicBezTo>
                  <a:cubicBezTo>
                    <a:pt x="1459149" y="1147848"/>
                    <a:pt x="1456325" y="1136419"/>
                    <a:pt x="1454166" y="1126651"/>
                  </a:cubicBezTo>
                  <a:cubicBezTo>
                    <a:pt x="1444309" y="1082016"/>
                    <a:pt x="1382696" y="1049066"/>
                    <a:pt x="1333730" y="1062250"/>
                  </a:cubicBezTo>
                  <a:cubicBezTo>
                    <a:pt x="1248827" y="1085111"/>
                    <a:pt x="1231805" y="1194885"/>
                    <a:pt x="1305586" y="1243722"/>
                  </a:cubicBezTo>
                  <a:lnTo>
                    <a:pt x="1330925" y="1260509"/>
                  </a:lnTo>
                  <a:lnTo>
                    <a:pt x="2126031" y="1266605"/>
                  </a:lnTo>
                  <a:lnTo>
                    <a:pt x="2158749" y="1284732"/>
                  </a:lnTo>
                  <a:cubicBezTo>
                    <a:pt x="2197402" y="1306137"/>
                    <a:pt x="2233814" y="1345484"/>
                    <a:pt x="2249007" y="1382244"/>
                  </a:cubicBezTo>
                  <a:lnTo>
                    <a:pt x="2259929" y="1408637"/>
                  </a:lnTo>
                  <a:lnTo>
                    <a:pt x="2312111" y="1411732"/>
                  </a:lnTo>
                  <a:cubicBezTo>
                    <a:pt x="2342128" y="1413510"/>
                    <a:pt x="2379741" y="1420321"/>
                    <a:pt x="2400730" y="1427780"/>
                  </a:cubicBezTo>
                  <a:cubicBezTo>
                    <a:pt x="2420772" y="1434892"/>
                    <a:pt x="2437835" y="1440734"/>
                    <a:pt x="2438666" y="1440734"/>
                  </a:cubicBezTo>
                  <a:cubicBezTo>
                    <a:pt x="2443954" y="1440734"/>
                    <a:pt x="2459378" y="1370214"/>
                    <a:pt x="2465358" y="1318652"/>
                  </a:cubicBezTo>
                  <a:cubicBezTo>
                    <a:pt x="2479581" y="1196293"/>
                    <a:pt x="2450719" y="1063220"/>
                    <a:pt x="2385929" y="952546"/>
                  </a:cubicBezTo>
                  <a:cubicBezTo>
                    <a:pt x="2314189" y="829979"/>
                    <a:pt x="2186018" y="727271"/>
                    <a:pt x="2050181" y="683560"/>
                  </a:cubicBezTo>
                  <a:cubicBezTo>
                    <a:pt x="1966883" y="656728"/>
                    <a:pt x="1947898" y="655643"/>
                    <a:pt x="1557874" y="655643"/>
                  </a:cubicBezTo>
                  <a:cubicBezTo>
                    <a:pt x="1140157" y="655643"/>
                    <a:pt x="1138333" y="655805"/>
                    <a:pt x="1028057" y="700185"/>
                  </a:cubicBezTo>
                  <a:cubicBezTo>
                    <a:pt x="782844" y="798876"/>
                    <a:pt x="626341" y="1059295"/>
                    <a:pt x="656473" y="1318490"/>
                  </a:cubicBezTo>
                  <a:cubicBezTo>
                    <a:pt x="660394" y="1352226"/>
                    <a:pt x="667753" y="1393813"/>
                    <a:pt x="672823" y="1410877"/>
                  </a:cubicBezTo>
                  <a:cubicBezTo>
                    <a:pt x="682863" y="1444682"/>
                    <a:pt x="679570" y="1443851"/>
                    <a:pt x="730084" y="1425332"/>
                  </a:cubicBezTo>
                  <a:close/>
                  <a:moveTo>
                    <a:pt x="157985" y="1306668"/>
                  </a:moveTo>
                  <a:cubicBezTo>
                    <a:pt x="169523" y="1302281"/>
                    <a:pt x="184612" y="1278151"/>
                    <a:pt x="221001" y="1205968"/>
                  </a:cubicBezTo>
                  <a:lnTo>
                    <a:pt x="268848" y="1111042"/>
                  </a:lnTo>
                  <a:lnTo>
                    <a:pt x="566013" y="1107763"/>
                  </a:lnTo>
                  <a:lnTo>
                    <a:pt x="585960" y="1046664"/>
                  </a:lnTo>
                  <a:cubicBezTo>
                    <a:pt x="669674" y="790263"/>
                    <a:pt x="878460" y="608976"/>
                    <a:pt x="1141730" y="564110"/>
                  </a:cubicBezTo>
                  <a:cubicBezTo>
                    <a:pt x="1180571" y="557483"/>
                    <a:pt x="1240879" y="554874"/>
                    <a:pt x="1354024" y="554874"/>
                  </a:cubicBezTo>
                  <a:lnTo>
                    <a:pt x="1512061" y="554874"/>
                  </a:lnTo>
                  <a:lnTo>
                    <a:pt x="1512061" y="350589"/>
                  </a:lnTo>
                  <a:cubicBezTo>
                    <a:pt x="1512061" y="230077"/>
                    <a:pt x="1509572" y="139769"/>
                    <a:pt x="1505991" y="130347"/>
                  </a:cubicBezTo>
                  <a:cubicBezTo>
                    <a:pt x="1492763" y="95550"/>
                    <a:pt x="1515312" y="96658"/>
                    <a:pt x="808173" y="96681"/>
                  </a:cubicBezTo>
                  <a:cubicBezTo>
                    <a:pt x="368314" y="96704"/>
                    <a:pt x="151339" y="98805"/>
                    <a:pt x="135477" y="103216"/>
                  </a:cubicBezTo>
                  <a:cubicBezTo>
                    <a:pt x="92761" y="115084"/>
                    <a:pt x="94728" y="85967"/>
                    <a:pt x="94728" y="706489"/>
                  </a:cubicBezTo>
                  <a:cubicBezTo>
                    <a:pt x="94728" y="1079453"/>
                    <a:pt x="96838" y="1267783"/>
                    <a:pt x="101158" y="1280183"/>
                  </a:cubicBezTo>
                  <a:cubicBezTo>
                    <a:pt x="104696" y="1290343"/>
                    <a:pt x="113631" y="1301542"/>
                    <a:pt x="121013" y="1305121"/>
                  </a:cubicBezTo>
                  <a:cubicBezTo>
                    <a:pt x="138294" y="1313480"/>
                    <a:pt x="139901" y="1313526"/>
                    <a:pt x="157975" y="1306668"/>
                  </a:cubicBezTo>
                  <a:close/>
                  <a:moveTo>
                    <a:pt x="232216" y="909227"/>
                  </a:moveTo>
                  <a:lnTo>
                    <a:pt x="165161" y="841940"/>
                  </a:lnTo>
                  <a:lnTo>
                    <a:pt x="235238" y="771859"/>
                  </a:lnTo>
                  <a:lnTo>
                    <a:pt x="299257" y="835890"/>
                  </a:lnTo>
                  <a:lnTo>
                    <a:pt x="516263" y="619113"/>
                  </a:lnTo>
                  <a:lnTo>
                    <a:pt x="586440" y="689309"/>
                  </a:lnTo>
                  <a:lnTo>
                    <a:pt x="299273" y="976491"/>
                  </a:lnTo>
                  <a:close/>
                  <a:moveTo>
                    <a:pt x="233657" y="458562"/>
                  </a:moveTo>
                  <a:cubicBezTo>
                    <a:pt x="197572" y="422355"/>
                    <a:pt x="168042" y="389936"/>
                    <a:pt x="168042" y="386518"/>
                  </a:cubicBezTo>
                  <a:cubicBezTo>
                    <a:pt x="168042" y="383101"/>
                    <a:pt x="182571" y="365944"/>
                    <a:pt x="200329" y="348418"/>
                  </a:cubicBezTo>
                  <a:lnTo>
                    <a:pt x="232611" y="316530"/>
                  </a:lnTo>
                  <a:lnTo>
                    <a:pt x="262717" y="347102"/>
                  </a:lnTo>
                  <a:cubicBezTo>
                    <a:pt x="279275" y="363912"/>
                    <a:pt x="295643" y="377651"/>
                    <a:pt x="299095" y="377651"/>
                  </a:cubicBezTo>
                  <a:cubicBezTo>
                    <a:pt x="302547" y="377651"/>
                    <a:pt x="352820" y="330269"/>
                    <a:pt x="410819" y="272334"/>
                  </a:cubicBezTo>
                  <a:lnTo>
                    <a:pt x="516266" y="167016"/>
                  </a:lnTo>
                  <a:lnTo>
                    <a:pt x="586440" y="237189"/>
                  </a:lnTo>
                  <a:lnTo>
                    <a:pt x="299273" y="524371"/>
                  </a:lnTo>
                  <a:close/>
                  <a:moveTo>
                    <a:pt x="705659" y="454036"/>
                  </a:moveTo>
                  <a:lnTo>
                    <a:pt x="705659" y="402105"/>
                  </a:lnTo>
                  <a:lnTo>
                    <a:pt x="1408208" y="402105"/>
                  </a:lnTo>
                  <a:lnTo>
                    <a:pt x="1408208" y="505944"/>
                  </a:lnTo>
                  <a:lnTo>
                    <a:pt x="705659" y="505944"/>
                  </a:lnTo>
                  <a:close/>
                  <a:moveTo>
                    <a:pt x="705659" y="252406"/>
                  </a:moveTo>
                  <a:lnTo>
                    <a:pt x="705659" y="200475"/>
                  </a:lnTo>
                  <a:lnTo>
                    <a:pt x="1408208" y="200475"/>
                  </a:lnTo>
                  <a:lnTo>
                    <a:pt x="1408208" y="304338"/>
                  </a:lnTo>
                  <a:lnTo>
                    <a:pt x="705659" y="304338"/>
                  </a:lnTo>
                  <a:close/>
                  <a:moveTo>
                    <a:pt x="400205" y="2571195"/>
                  </a:moveTo>
                  <a:lnTo>
                    <a:pt x="400205" y="2418218"/>
                  </a:lnTo>
                  <a:lnTo>
                    <a:pt x="444494" y="2418080"/>
                  </a:lnTo>
                  <a:cubicBezTo>
                    <a:pt x="499858" y="2417918"/>
                    <a:pt x="529632" y="2405195"/>
                    <a:pt x="562782" y="2367534"/>
                  </a:cubicBezTo>
                  <a:cubicBezTo>
                    <a:pt x="604159" y="2320520"/>
                    <a:pt x="613044" y="2262377"/>
                    <a:pt x="587304" y="2207098"/>
                  </a:cubicBezTo>
                  <a:cubicBezTo>
                    <a:pt x="545476" y="2117274"/>
                    <a:pt x="435357" y="2091112"/>
                    <a:pt x="355506" y="2152003"/>
                  </a:cubicBezTo>
                  <a:cubicBezTo>
                    <a:pt x="325196" y="2175117"/>
                    <a:pt x="304013" y="2221599"/>
                    <a:pt x="298908" y="2276163"/>
                  </a:cubicBezTo>
                  <a:lnTo>
                    <a:pt x="294764" y="2320474"/>
                  </a:lnTo>
                  <a:lnTo>
                    <a:pt x="196900" y="2320474"/>
                  </a:lnTo>
                  <a:lnTo>
                    <a:pt x="200119" y="2266996"/>
                  </a:lnTo>
                  <a:cubicBezTo>
                    <a:pt x="205517" y="2177380"/>
                    <a:pt x="241260" y="2109239"/>
                    <a:pt x="306932" y="2063357"/>
                  </a:cubicBezTo>
                  <a:cubicBezTo>
                    <a:pt x="471929" y="1948087"/>
                    <a:pt x="700935" y="2067051"/>
                    <a:pt x="700704" y="2267919"/>
                  </a:cubicBezTo>
                  <a:cubicBezTo>
                    <a:pt x="700577" y="2376101"/>
                    <a:pt x="632301" y="2474352"/>
                    <a:pt x="534731" y="2506749"/>
                  </a:cubicBezTo>
                  <a:lnTo>
                    <a:pt x="504340" y="2516840"/>
                  </a:lnTo>
                  <a:lnTo>
                    <a:pt x="500994" y="2720617"/>
                  </a:lnTo>
                  <a:lnTo>
                    <a:pt x="450594" y="2722394"/>
                  </a:lnTo>
                  <a:lnTo>
                    <a:pt x="400194" y="2724172"/>
                  </a:lnTo>
                  <a:close/>
                  <a:moveTo>
                    <a:pt x="2732737" y="1102498"/>
                  </a:moveTo>
                  <a:cubicBezTo>
                    <a:pt x="2640978" y="1077052"/>
                    <a:pt x="2594406" y="970372"/>
                    <a:pt x="2638415" y="886367"/>
                  </a:cubicBezTo>
                  <a:cubicBezTo>
                    <a:pt x="2649776" y="864662"/>
                    <a:pt x="2682517" y="833905"/>
                    <a:pt x="2707754" y="821181"/>
                  </a:cubicBezTo>
                  <a:cubicBezTo>
                    <a:pt x="2784689" y="782412"/>
                    <a:pt x="2886307" y="825684"/>
                    <a:pt x="2913968" y="908950"/>
                  </a:cubicBezTo>
                  <a:cubicBezTo>
                    <a:pt x="2951535" y="1022095"/>
                    <a:pt x="2846662" y="1134109"/>
                    <a:pt x="2732737" y="1102498"/>
                  </a:cubicBezTo>
                  <a:close/>
                  <a:moveTo>
                    <a:pt x="2803253" y="994271"/>
                  </a:moveTo>
                  <a:cubicBezTo>
                    <a:pt x="2815329" y="984781"/>
                    <a:pt x="2819347" y="976098"/>
                    <a:pt x="2819347" y="959542"/>
                  </a:cubicBezTo>
                  <a:cubicBezTo>
                    <a:pt x="2819347" y="913476"/>
                    <a:pt x="2768872" y="891909"/>
                    <a:pt x="2736593" y="924190"/>
                  </a:cubicBezTo>
                  <a:cubicBezTo>
                    <a:pt x="2692422" y="968363"/>
                    <a:pt x="2753956" y="1033064"/>
                    <a:pt x="2803253" y="994271"/>
                  </a:cubicBezTo>
                  <a:close/>
                  <a:moveTo>
                    <a:pt x="2721608" y="554828"/>
                  </a:moveTo>
                  <a:lnTo>
                    <a:pt x="2721608" y="402105"/>
                  </a:lnTo>
                  <a:lnTo>
                    <a:pt x="2762846" y="402035"/>
                  </a:lnTo>
                  <a:cubicBezTo>
                    <a:pt x="2848671" y="401920"/>
                    <a:pt x="2911729" y="348349"/>
                    <a:pt x="2921311" y="267485"/>
                  </a:cubicBezTo>
                  <a:cubicBezTo>
                    <a:pt x="2926437" y="224143"/>
                    <a:pt x="2913945" y="186736"/>
                    <a:pt x="2882659" y="151961"/>
                  </a:cubicBezTo>
                  <a:cubicBezTo>
                    <a:pt x="2851164" y="116909"/>
                    <a:pt x="2816922" y="101553"/>
                    <a:pt x="2770212" y="101530"/>
                  </a:cubicBezTo>
                  <a:cubicBezTo>
                    <a:pt x="2685565" y="101484"/>
                    <a:pt x="2627517" y="160620"/>
                    <a:pt x="2619597" y="254992"/>
                  </a:cubicBezTo>
                  <a:lnTo>
                    <a:pt x="2615972" y="298218"/>
                  </a:lnTo>
                  <a:lnTo>
                    <a:pt x="2518303" y="298218"/>
                  </a:lnTo>
                  <a:lnTo>
                    <a:pt x="2521466" y="242870"/>
                  </a:lnTo>
                  <a:cubicBezTo>
                    <a:pt x="2524191" y="195233"/>
                    <a:pt x="2527677" y="181309"/>
                    <a:pt x="2546611" y="143025"/>
                  </a:cubicBezTo>
                  <a:cubicBezTo>
                    <a:pt x="2640863" y="-47683"/>
                    <a:pt x="2907942" y="-46968"/>
                    <a:pt x="2998523" y="144248"/>
                  </a:cubicBezTo>
                  <a:cubicBezTo>
                    <a:pt x="3016672" y="182602"/>
                    <a:pt x="3017895" y="189461"/>
                    <a:pt x="3017803" y="252406"/>
                  </a:cubicBezTo>
                  <a:cubicBezTo>
                    <a:pt x="3017711" y="312258"/>
                    <a:pt x="3015909" y="323434"/>
                    <a:pt x="3001409" y="354560"/>
                  </a:cubicBezTo>
                  <a:cubicBezTo>
                    <a:pt x="2972408" y="416837"/>
                    <a:pt x="2909882" y="472301"/>
                    <a:pt x="2848163" y="490520"/>
                  </a:cubicBezTo>
                  <a:lnTo>
                    <a:pt x="2822417" y="498116"/>
                  </a:lnTo>
                  <a:lnTo>
                    <a:pt x="2820732" y="602834"/>
                  </a:lnTo>
                  <a:lnTo>
                    <a:pt x="2819070" y="707551"/>
                  </a:lnTo>
                  <a:lnTo>
                    <a:pt x="2721608" y="707551"/>
                  </a:lnTo>
                  <a:close/>
                </a:path>
              </a:pathLst>
            </a:custGeom>
            <a:solidFill>
              <a:srgbClr val="03556D"/>
            </a:solidFill>
            <a:ln w="6108" cap="flat">
              <a:noFill/>
              <a:prstDash val="solid"/>
              <a:miter/>
            </a:ln>
          </p:spPr>
          <p:txBody>
            <a:bodyPr rtlCol="0" anchor="ctr"/>
            <a:lstStyle/>
            <a:p>
              <a:endParaRPr lang="en-US" dirty="0"/>
            </a:p>
          </p:txBody>
        </p:sp>
      </p:grpSp>
      <p:grpSp>
        <p:nvGrpSpPr>
          <p:cNvPr id="65" name="Group 64">
            <a:extLst>
              <a:ext uri="{FF2B5EF4-FFF2-40B4-BE49-F238E27FC236}">
                <a16:creationId xmlns:a16="http://schemas.microsoft.com/office/drawing/2014/main" id="{CDF7323D-FCB1-42D0-A03C-A228D8E2EA0F}"/>
              </a:ext>
            </a:extLst>
          </p:cNvPr>
          <p:cNvGrpSpPr/>
          <p:nvPr/>
        </p:nvGrpSpPr>
        <p:grpSpPr>
          <a:xfrm>
            <a:off x="8261548" y="2648860"/>
            <a:ext cx="1005840" cy="1005840"/>
            <a:chOff x="7462878" y="2217406"/>
            <a:chExt cx="1005840" cy="1005840"/>
          </a:xfrm>
        </p:grpSpPr>
        <p:sp>
          <p:nvSpPr>
            <p:cNvPr id="66" name="Oval 65">
              <a:extLst>
                <a:ext uri="{FF2B5EF4-FFF2-40B4-BE49-F238E27FC236}">
                  <a16:creationId xmlns:a16="http://schemas.microsoft.com/office/drawing/2014/main" id="{017E696D-D0B1-4A4A-8BF7-8BE0EAC6184E}"/>
                </a:ext>
              </a:extLst>
            </p:cNvPr>
            <p:cNvSpPr/>
            <p:nvPr/>
          </p:nvSpPr>
          <p:spPr bwMode="auto">
            <a:xfrm>
              <a:off x="7462878" y="2217406"/>
              <a:ext cx="1005840" cy="1005840"/>
            </a:xfrm>
            <a:prstGeom prst="ellipse">
              <a:avLst/>
            </a:prstGeom>
            <a:solidFill>
              <a:srgbClr val="F2F2F2"/>
            </a:solidFill>
            <a:ln w="76200">
              <a:solidFill>
                <a:srgbClr val="07AADB"/>
              </a:solidFill>
              <a:round/>
              <a:headEnd/>
              <a:tailEnd/>
            </a:ln>
          </p:spPr>
          <p:txBody>
            <a:bodyPr wrap="square" lIns="0" tIns="0" rIns="0" bIns="0" rtlCol="0" anchor="ctr">
              <a:noAutofit/>
            </a:bodyPr>
            <a:lstStyle/>
            <a:p>
              <a:pPr algn="l"/>
              <a:endParaRPr lang="en-US" dirty="0">
                <a:solidFill>
                  <a:schemeClr val="tx2"/>
                </a:solidFill>
              </a:endParaRPr>
            </a:p>
          </p:txBody>
        </p:sp>
        <p:sp>
          <p:nvSpPr>
            <p:cNvPr id="67" name="Graphic 14">
              <a:extLst>
                <a:ext uri="{FF2B5EF4-FFF2-40B4-BE49-F238E27FC236}">
                  <a16:creationId xmlns:a16="http://schemas.microsoft.com/office/drawing/2014/main" id="{37E84DB2-A84A-4EDC-AAE6-48BA6772AADF}"/>
                </a:ext>
              </a:extLst>
            </p:cNvPr>
            <p:cNvSpPr/>
            <p:nvPr/>
          </p:nvSpPr>
          <p:spPr>
            <a:xfrm>
              <a:off x="7737198" y="2491726"/>
              <a:ext cx="457200" cy="457200"/>
            </a:xfrm>
            <a:custGeom>
              <a:avLst/>
              <a:gdLst>
                <a:gd name="connsiteX0" fmla="*/ 359503 w 791731"/>
                <a:gd name="connsiteY0" fmla="*/ 790300 h 791968"/>
                <a:gd name="connsiteX1" fmla="*/ 189463 w 791731"/>
                <a:gd name="connsiteY1" fmla="*/ 733635 h 791968"/>
                <a:gd name="connsiteX2" fmla="*/ 58126 w 791731"/>
                <a:gd name="connsiteY2" fmla="*/ 602294 h 791968"/>
                <a:gd name="connsiteX3" fmla="*/ 41823 w 791731"/>
                <a:gd name="connsiteY3" fmla="*/ 218870 h 791968"/>
                <a:gd name="connsiteX4" fmla="*/ 189463 w 791731"/>
                <a:gd name="connsiteY4" fmla="*/ 58134 h 791968"/>
                <a:gd name="connsiteX5" fmla="*/ 572868 w 791731"/>
                <a:gd name="connsiteY5" fmla="*/ 41832 h 791968"/>
                <a:gd name="connsiteX6" fmla="*/ 733605 w 791731"/>
                <a:gd name="connsiteY6" fmla="*/ 189475 h 791968"/>
                <a:gd name="connsiteX7" fmla="*/ 749909 w 791731"/>
                <a:gd name="connsiteY7" fmla="*/ 572900 h 791968"/>
                <a:gd name="connsiteX8" fmla="*/ 602268 w 791731"/>
                <a:gd name="connsiteY8" fmla="*/ 733635 h 791968"/>
                <a:gd name="connsiteX9" fmla="*/ 359503 w 791731"/>
                <a:gd name="connsiteY9" fmla="*/ 790300 h 791968"/>
                <a:gd name="connsiteX10" fmla="*/ 444612 w 791731"/>
                <a:gd name="connsiteY10" fmla="*/ 749568 h 791968"/>
                <a:gd name="connsiteX11" fmla="*/ 552932 w 791731"/>
                <a:gd name="connsiteY11" fmla="*/ 716179 h 791968"/>
                <a:gd name="connsiteX12" fmla="*/ 750410 w 791731"/>
                <a:gd name="connsiteY12" fmla="*/ 439203 h 791968"/>
                <a:gd name="connsiteX13" fmla="*/ 752398 w 791731"/>
                <a:gd name="connsiteY13" fmla="*/ 395885 h 791968"/>
                <a:gd name="connsiteX14" fmla="*/ 733827 w 791731"/>
                <a:gd name="connsiteY14" fmla="*/ 281354 h 791968"/>
                <a:gd name="connsiteX15" fmla="*/ 439202 w 791731"/>
                <a:gd name="connsiteY15" fmla="*/ 41301 h 791968"/>
                <a:gd name="connsiteX16" fmla="*/ 352546 w 791731"/>
                <a:gd name="connsiteY16" fmla="*/ 41301 h 791968"/>
                <a:gd name="connsiteX17" fmla="*/ 57921 w 791731"/>
                <a:gd name="connsiteY17" fmla="*/ 281354 h 791968"/>
                <a:gd name="connsiteX18" fmla="*/ 39352 w 791731"/>
                <a:gd name="connsiteY18" fmla="*/ 395885 h 791968"/>
                <a:gd name="connsiteX19" fmla="*/ 41338 w 791731"/>
                <a:gd name="connsiteY19" fmla="*/ 439203 h 791968"/>
                <a:gd name="connsiteX20" fmla="*/ 238815 w 791731"/>
                <a:gd name="connsiteY20" fmla="*/ 716179 h 791968"/>
                <a:gd name="connsiteX21" fmla="*/ 373442 w 791731"/>
                <a:gd name="connsiteY21" fmla="*/ 752431 h 791968"/>
                <a:gd name="connsiteX22" fmla="*/ 444623 w 791731"/>
                <a:gd name="connsiteY22" fmla="*/ 749545 h 791968"/>
                <a:gd name="connsiteX23" fmla="*/ 381166 w 791731"/>
                <a:gd name="connsiteY23" fmla="*/ 652771 h 791968"/>
                <a:gd name="connsiteX24" fmla="*/ 277144 w 791731"/>
                <a:gd name="connsiteY24" fmla="*/ 558029 h 791968"/>
                <a:gd name="connsiteX25" fmla="*/ 276257 w 791731"/>
                <a:gd name="connsiteY25" fmla="*/ 547430 h 791968"/>
                <a:gd name="connsiteX26" fmla="*/ 314360 w 791731"/>
                <a:gd name="connsiteY26" fmla="*/ 548308 h 791968"/>
                <a:gd name="connsiteX27" fmla="*/ 316330 w 791731"/>
                <a:gd name="connsiteY27" fmla="*/ 557983 h 791968"/>
                <a:gd name="connsiteX28" fmla="*/ 336316 w 791731"/>
                <a:gd name="connsiteY28" fmla="*/ 592204 h 791968"/>
                <a:gd name="connsiteX29" fmla="*/ 443577 w 791731"/>
                <a:gd name="connsiteY29" fmla="*/ 600078 h 791968"/>
                <a:gd name="connsiteX30" fmla="*/ 474028 w 791731"/>
                <a:gd name="connsiteY30" fmla="*/ 551748 h 791968"/>
                <a:gd name="connsiteX31" fmla="*/ 474868 w 791731"/>
                <a:gd name="connsiteY31" fmla="*/ 547453 h 791968"/>
                <a:gd name="connsiteX32" fmla="*/ 512699 w 791731"/>
                <a:gd name="connsiteY32" fmla="*/ 548308 h 791968"/>
                <a:gd name="connsiteX33" fmla="*/ 512197 w 791731"/>
                <a:gd name="connsiteY33" fmla="*/ 556043 h 791968"/>
                <a:gd name="connsiteX34" fmla="*/ 481844 w 791731"/>
                <a:gd name="connsiteY34" fmla="*/ 617996 h 791968"/>
                <a:gd name="connsiteX35" fmla="*/ 398187 w 791731"/>
                <a:gd name="connsiteY35" fmla="*/ 653418 h 791968"/>
                <a:gd name="connsiteX36" fmla="*/ 381166 w 791731"/>
                <a:gd name="connsiteY36" fmla="*/ 652771 h 791968"/>
                <a:gd name="connsiteX37" fmla="*/ 132304 w 791731"/>
                <a:gd name="connsiteY37" fmla="*/ 455782 h 791968"/>
                <a:gd name="connsiteX38" fmla="*/ 123514 w 791731"/>
                <a:gd name="connsiteY38" fmla="*/ 438788 h 791968"/>
                <a:gd name="connsiteX39" fmla="*/ 160652 w 791731"/>
                <a:gd name="connsiteY39" fmla="*/ 417382 h 791968"/>
                <a:gd name="connsiteX40" fmla="*/ 197789 w 791731"/>
                <a:gd name="connsiteY40" fmla="*/ 395885 h 791968"/>
                <a:gd name="connsiteX41" fmla="*/ 160652 w 791731"/>
                <a:gd name="connsiteY41" fmla="*/ 374387 h 791968"/>
                <a:gd name="connsiteX42" fmla="*/ 123514 w 791731"/>
                <a:gd name="connsiteY42" fmla="*/ 352958 h 791968"/>
                <a:gd name="connsiteX43" fmla="*/ 132304 w 791731"/>
                <a:gd name="connsiteY43" fmla="*/ 335987 h 791968"/>
                <a:gd name="connsiteX44" fmla="*/ 143524 w 791731"/>
                <a:gd name="connsiteY44" fmla="*/ 320839 h 791968"/>
                <a:gd name="connsiteX45" fmla="*/ 278259 w 791731"/>
                <a:gd name="connsiteY45" fmla="*/ 395885 h 791968"/>
                <a:gd name="connsiteX46" fmla="*/ 143524 w 791731"/>
                <a:gd name="connsiteY46" fmla="*/ 470930 h 791968"/>
                <a:gd name="connsiteX47" fmla="*/ 132304 w 791731"/>
                <a:gd name="connsiteY47" fmla="*/ 455782 h 791968"/>
                <a:gd name="connsiteX48" fmla="*/ 581123 w 791731"/>
                <a:gd name="connsiteY48" fmla="*/ 434262 h 791968"/>
                <a:gd name="connsiteX49" fmla="*/ 513472 w 791731"/>
                <a:gd name="connsiteY49" fmla="*/ 395885 h 791968"/>
                <a:gd name="connsiteX50" fmla="*/ 648208 w 791731"/>
                <a:gd name="connsiteY50" fmla="*/ 320839 h 791968"/>
                <a:gd name="connsiteX51" fmla="*/ 659427 w 791731"/>
                <a:gd name="connsiteY51" fmla="*/ 335987 h 791968"/>
                <a:gd name="connsiteX52" fmla="*/ 668217 w 791731"/>
                <a:gd name="connsiteY52" fmla="*/ 352982 h 791968"/>
                <a:gd name="connsiteX53" fmla="*/ 631080 w 791731"/>
                <a:gd name="connsiteY53" fmla="*/ 374387 h 791968"/>
                <a:gd name="connsiteX54" fmla="*/ 593942 w 791731"/>
                <a:gd name="connsiteY54" fmla="*/ 395885 h 791968"/>
                <a:gd name="connsiteX55" fmla="*/ 631080 w 791731"/>
                <a:gd name="connsiteY55" fmla="*/ 417382 h 791968"/>
                <a:gd name="connsiteX56" fmla="*/ 668217 w 791731"/>
                <a:gd name="connsiteY56" fmla="*/ 438788 h 791968"/>
                <a:gd name="connsiteX57" fmla="*/ 649738 w 791731"/>
                <a:gd name="connsiteY57" fmla="*/ 471715 h 791968"/>
                <a:gd name="connsiteX58" fmla="*/ 581123 w 791731"/>
                <a:gd name="connsiteY58" fmla="*/ 434262 h 79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791731" h="791968">
                  <a:moveTo>
                    <a:pt x="359503" y="790300"/>
                  </a:moveTo>
                  <a:cubicBezTo>
                    <a:pt x="299846" y="784620"/>
                    <a:pt x="240163" y="764716"/>
                    <a:pt x="189463" y="733635"/>
                  </a:cubicBezTo>
                  <a:cubicBezTo>
                    <a:pt x="138486" y="702393"/>
                    <a:pt x="89378" y="653279"/>
                    <a:pt x="58126" y="602294"/>
                  </a:cubicBezTo>
                  <a:cubicBezTo>
                    <a:pt x="-13094" y="486124"/>
                    <a:pt x="-19268" y="340905"/>
                    <a:pt x="41823" y="218870"/>
                  </a:cubicBezTo>
                  <a:cubicBezTo>
                    <a:pt x="73964" y="154654"/>
                    <a:pt x="128040" y="95772"/>
                    <a:pt x="189463" y="58134"/>
                  </a:cubicBezTo>
                  <a:cubicBezTo>
                    <a:pt x="305632" y="-13102"/>
                    <a:pt x="450839" y="-19267"/>
                    <a:pt x="572868" y="41832"/>
                  </a:cubicBezTo>
                  <a:cubicBezTo>
                    <a:pt x="637076" y="73974"/>
                    <a:pt x="695950" y="128053"/>
                    <a:pt x="733605" y="189475"/>
                  </a:cubicBezTo>
                  <a:cubicBezTo>
                    <a:pt x="804825" y="305645"/>
                    <a:pt x="810999" y="450864"/>
                    <a:pt x="749909" y="572900"/>
                  </a:cubicBezTo>
                  <a:cubicBezTo>
                    <a:pt x="717768" y="637115"/>
                    <a:pt x="663692" y="695974"/>
                    <a:pt x="602268" y="733635"/>
                  </a:cubicBezTo>
                  <a:cubicBezTo>
                    <a:pt x="530362" y="777716"/>
                    <a:pt x="442554" y="798221"/>
                    <a:pt x="359503" y="790300"/>
                  </a:cubicBezTo>
                  <a:close/>
                  <a:moveTo>
                    <a:pt x="444612" y="749568"/>
                  </a:moveTo>
                  <a:cubicBezTo>
                    <a:pt x="482500" y="744142"/>
                    <a:pt x="518750" y="732966"/>
                    <a:pt x="552932" y="716179"/>
                  </a:cubicBezTo>
                  <a:cubicBezTo>
                    <a:pt x="661126" y="663046"/>
                    <a:pt x="733965" y="560869"/>
                    <a:pt x="750410" y="439203"/>
                  </a:cubicBezTo>
                  <a:cubicBezTo>
                    <a:pt x="751502" y="431121"/>
                    <a:pt x="752398" y="411632"/>
                    <a:pt x="752398" y="395885"/>
                  </a:cubicBezTo>
                  <a:cubicBezTo>
                    <a:pt x="752398" y="353513"/>
                    <a:pt x="747078" y="320724"/>
                    <a:pt x="733827" y="281354"/>
                  </a:cubicBezTo>
                  <a:cubicBezTo>
                    <a:pt x="690374" y="152322"/>
                    <a:pt x="576990" y="59935"/>
                    <a:pt x="439202" y="41301"/>
                  </a:cubicBezTo>
                  <a:cubicBezTo>
                    <a:pt x="420277" y="38761"/>
                    <a:pt x="371470" y="38761"/>
                    <a:pt x="352546" y="41301"/>
                  </a:cubicBezTo>
                  <a:cubicBezTo>
                    <a:pt x="214792" y="59935"/>
                    <a:pt x="101353" y="152345"/>
                    <a:pt x="57921" y="281354"/>
                  </a:cubicBezTo>
                  <a:cubicBezTo>
                    <a:pt x="44670" y="320724"/>
                    <a:pt x="39352" y="353513"/>
                    <a:pt x="39352" y="395885"/>
                  </a:cubicBezTo>
                  <a:cubicBezTo>
                    <a:pt x="39352" y="411632"/>
                    <a:pt x="40246" y="431121"/>
                    <a:pt x="41338" y="439203"/>
                  </a:cubicBezTo>
                  <a:cubicBezTo>
                    <a:pt x="57768" y="560800"/>
                    <a:pt x="130764" y="663185"/>
                    <a:pt x="238815" y="716179"/>
                  </a:cubicBezTo>
                  <a:cubicBezTo>
                    <a:pt x="280891" y="736822"/>
                    <a:pt x="318636" y="747005"/>
                    <a:pt x="373442" y="752431"/>
                  </a:cubicBezTo>
                  <a:cubicBezTo>
                    <a:pt x="384888" y="753586"/>
                    <a:pt x="429010" y="751785"/>
                    <a:pt x="444623" y="749545"/>
                  </a:cubicBezTo>
                  <a:close/>
                  <a:moveTo>
                    <a:pt x="381166" y="652771"/>
                  </a:moveTo>
                  <a:cubicBezTo>
                    <a:pt x="325335" y="646767"/>
                    <a:pt x="281215" y="606589"/>
                    <a:pt x="277144" y="558029"/>
                  </a:cubicBezTo>
                  <a:lnTo>
                    <a:pt x="276257" y="547430"/>
                  </a:lnTo>
                  <a:lnTo>
                    <a:pt x="314360" y="548308"/>
                  </a:lnTo>
                  <a:lnTo>
                    <a:pt x="316330" y="557983"/>
                  </a:lnTo>
                  <a:cubicBezTo>
                    <a:pt x="319045" y="571306"/>
                    <a:pt x="325148" y="581767"/>
                    <a:pt x="336316" y="592204"/>
                  </a:cubicBezTo>
                  <a:cubicBezTo>
                    <a:pt x="364155" y="618250"/>
                    <a:pt x="411196" y="621714"/>
                    <a:pt x="443577" y="600078"/>
                  </a:cubicBezTo>
                  <a:cubicBezTo>
                    <a:pt x="461841" y="587886"/>
                    <a:pt x="469281" y="576086"/>
                    <a:pt x="474028" y="551748"/>
                  </a:cubicBezTo>
                  <a:lnTo>
                    <a:pt x="474868" y="547453"/>
                  </a:lnTo>
                  <a:lnTo>
                    <a:pt x="512699" y="548308"/>
                  </a:lnTo>
                  <a:lnTo>
                    <a:pt x="512197" y="556043"/>
                  </a:lnTo>
                  <a:cubicBezTo>
                    <a:pt x="510680" y="579527"/>
                    <a:pt x="501350" y="598553"/>
                    <a:pt x="481844" y="617996"/>
                  </a:cubicBezTo>
                  <a:cubicBezTo>
                    <a:pt x="458454" y="641318"/>
                    <a:pt x="437805" y="650046"/>
                    <a:pt x="398187" y="653418"/>
                  </a:cubicBezTo>
                  <a:cubicBezTo>
                    <a:pt x="394784" y="653694"/>
                    <a:pt x="387123" y="653418"/>
                    <a:pt x="381166" y="652771"/>
                  </a:cubicBezTo>
                  <a:close/>
                  <a:moveTo>
                    <a:pt x="132304" y="455782"/>
                  </a:moveTo>
                  <a:cubicBezTo>
                    <a:pt x="127469" y="446939"/>
                    <a:pt x="123514" y="439296"/>
                    <a:pt x="123514" y="438788"/>
                  </a:cubicBezTo>
                  <a:cubicBezTo>
                    <a:pt x="123514" y="438279"/>
                    <a:pt x="140227" y="428650"/>
                    <a:pt x="160652" y="417382"/>
                  </a:cubicBezTo>
                  <a:cubicBezTo>
                    <a:pt x="181079" y="406114"/>
                    <a:pt x="197789" y="396439"/>
                    <a:pt x="197789" y="395885"/>
                  </a:cubicBezTo>
                  <a:cubicBezTo>
                    <a:pt x="197789" y="395330"/>
                    <a:pt x="181077" y="385655"/>
                    <a:pt x="160652" y="374387"/>
                  </a:cubicBezTo>
                  <a:cubicBezTo>
                    <a:pt x="140227" y="363118"/>
                    <a:pt x="123514" y="353466"/>
                    <a:pt x="123514" y="352958"/>
                  </a:cubicBezTo>
                  <a:cubicBezTo>
                    <a:pt x="123514" y="352451"/>
                    <a:pt x="127469" y="344831"/>
                    <a:pt x="132304" y="335987"/>
                  </a:cubicBezTo>
                  <a:cubicBezTo>
                    <a:pt x="138933" y="323887"/>
                    <a:pt x="141693" y="320169"/>
                    <a:pt x="143524" y="320839"/>
                  </a:cubicBezTo>
                  <a:cubicBezTo>
                    <a:pt x="148377" y="322663"/>
                    <a:pt x="278259" y="394984"/>
                    <a:pt x="278259" y="395885"/>
                  </a:cubicBezTo>
                  <a:cubicBezTo>
                    <a:pt x="278259" y="396785"/>
                    <a:pt x="148380" y="469106"/>
                    <a:pt x="143524" y="470930"/>
                  </a:cubicBezTo>
                  <a:cubicBezTo>
                    <a:pt x="141693" y="471600"/>
                    <a:pt x="138933" y="467882"/>
                    <a:pt x="132304" y="455782"/>
                  </a:cubicBezTo>
                  <a:close/>
                  <a:moveTo>
                    <a:pt x="581123" y="434262"/>
                  </a:moveTo>
                  <a:cubicBezTo>
                    <a:pt x="543914" y="413665"/>
                    <a:pt x="513472" y="396393"/>
                    <a:pt x="513472" y="395885"/>
                  </a:cubicBezTo>
                  <a:cubicBezTo>
                    <a:pt x="513472" y="394984"/>
                    <a:pt x="643331" y="322663"/>
                    <a:pt x="648208" y="320839"/>
                  </a:cubicBezTo>
                  <a:cubicBezTo>
                    <a:pt x="650039" y="320169"/>
                    <a:pt x="652798" y="323887"/>
                    <a:pt x="659427" y="335987"/>
                  </a:cubicBezTo>
                  <a:cubicBezTo>
                    <a:pt x="664262" y="344831"/>
                    <a:pt x="668217" y="352474"/>
                    <a:pt x="668217" y="352982"/>
                  </a:cubicBezTo>
                  <a:cubicBezTo>
                    <a:pt x="668217" y="353490"/>
                    <a:pt x="651505" y="363118"/>
                    <a:pt x="631080" y="374387"/>
                  </a:cubicBezTo>
                  <a:cubicBezTo>
                    <a:pt x="610652" y="385655"/>
                    <a:pt x="593942" y="395330"/>
                    <a:pt x="593942" y="395885"/>
                  </a:cubicBezTo>
                  <a:cubicBezTo>
                    <a:pt x="593942" y="396439"/>
                    <a:pt x="610655" y="406114"/>
                    <a:pt x="631080" y="417382"/>
                  </a:cubicBezTo>
                  <a:cubicBezTo>
                    <a:pt x="651505" y="428650"/>
                    <a:pt x="668217" y="438279"/>
                    <a:pt x="668217" y="438788"/>
                  </a:cubicBezTo>
                  <a:cubicBezTo>
                    <a:pt x="668217" y="440519"/>
                    <a:pt x="650706" y="471715"/>
                    <a:pt x="649738" y="471715"/>
                  </a:cubicBezTo>
                  <a:cubicBezTo>
                    <a:pt x="649207" y="471715"/>
                    <a:pt x="618329" y="454859"/>
                    <a:pt x="581123" y="434262"/>
                  </a:cubicBezTo>
                  <a:close/>
                </a:path>
              </a:pathLst>
            </a:custGeom>
            <a:solidFill>
              <a:srgbClr val="03556D"/>
            </a:solidFill>
            <a:ln w="1547" cap="flat">
              <a:noFill/>
              <a:prstDash val="solid"/>
              <a:miter/>
            </a:ln>
          </p:spPr>
          <p:txBody>
            <a:bodyPr rtlCol="0" anchor="ctr"/>
            <a:lstStyle/>
            <a:p>
              <a:endParaRPr lang="en-US" dirty="0"/>
            </a:p>
          </p:txBody>
        </p:sp>
      </p:grpSp>
      <p:sp>
        <p:nvSpPr>
          <p:cNvPr id="68" name="Oval 67">
            <a:extLst>
              <a:ext uri="{FF2B5EF4-FFF2-40B4-BE49-F238E27FC236}">
                <a16:creationId xmlns:a16="http://schemas.microsoft.com/office/drawing/2014/main" id="{DB47DCC7-2034-4D7E-B5F6-02C6D6839859}"/>
              </a:ext>
            </a:extLst>
          </p:cNvPr>
          <p:cNvSpPr/>
          <p:nvPr/>
        </p:nvSpPr>
        <p:spPr bwMode="auto">
          <a:xfrm>
            <a:off x="459340" y="4402655"/>
            <a:ext cx="1645920" cy="640080"/>
          </a:xfrm>
          <a:prstGeom prst="ellipse">
            <a:avLst/>
          </a:prstGeom>
          <a:noFill/>
          <a:ln w="82550">
            <a:solidFill>
              <a:srgbClr val="07AADB"/>
            </a:solidFill>
            <a:round/>
            <a:headEnd/>
            <a:tailEnd/>
          </a:ln>
        </p:spPr>
        <p:txBody>
          <a:bodyPr wrap="square" lIns="0" tIns="0" rIns="0" bIns="0" rtlCol="0" anchor="ctr">
            <a:noAutofit/>
          </a:bodyPr>
          <a:lstStyle/>
          <a:p>
            <a:pPr algn="l"/>
            <a:endParaRPr lang="en-IN" dirty="0">
              <a:solidFill>
                <a:schemeClr val="tx2"/>
              </a:solidFill>
            </a:endParaRPr>
          </a:p>
        </p:txBody>
      </p:sp>
      <p:sp>
        <p:nvSpPr>
          <p:cNvPr id="69" name="TextBox 68">
            <a:extLst>
              <a:ext uri="{FF2B5EF4-FFF2-40B4-BE49-F238E27FC236}">
                <a16:creationId xmlns:a16="http://schemas.microsoft.com/office/drawing/2014/main" id="{246E273C-25E5-4261-9DC8-E3DCFDEE7B30}"/>
              </a:ext>
            </a:extLst>
          </p:cNvPr>
          <p:cNvSpPr txBox="1"/>
          <p:nvPr/>
        </p:nvSpPr>
        <p:spPr>
          <a:xfrm>
            <a:off x="590971" y="4446649"/>
            <a:ext cx="1371600" cy="548640"/>
          </a:xfrm>
          <a:prstGeom prst="rect">
            <a:avLst/>
          </a:prstGeom>
          <a:noFill/>
          <a:ln>
            <a:noFill/>
          </a:ln>
        </p:spPr>
        <p:txBody>
          <a:bodyPr wrap="square" lIns="182880" tIns="182880" rIns="182880" bIns="182880" rtlCol="0">
            <a:noAutofit/>
          </a:bodyPr>
          <a:lstStyle/>
          <a:p>
            <a:pPr marL="0" indent="0">
              <a:buNone/>
            </a:pPr>
            <a:r>
              <a:rPr lang="en-IN" dirty="0">
                <a:solidFill>
                  <a:srgbClr val="03556D"/>
                </a:solidFill>
                <a:latin typeface="+mn-lt"/>
              </a:rPr>
              <a:t>Touchpoints</a:t>
            </a:r>
          </a:p>
          <a:p>
            <a:endParaRPr lang="en-IN" dirty="0">
              <a:solidFill>
                <a:srgbClr val="03556D"/>
              </a:solidFill>
              <a:latin typeface="+mn-lt"/>
            </a:endParaRPr>
          </a:p>
          <a:p>
            <a:endParaRPr lang="en-IN" dirty="0">
              <a:solidFill>
                <a:srgbClr val="03556D"/>
              </a:solidFill>
              <a:latin typeface="+mn-lt"/>
            </a:endParaRPr>
          </a:p>
        </p:txBody>
      </p:sp>
      <p:sp>
        <p:nvSpPr>
          <p:cNvPr id="70" name="Oval 69">
            <a:extLst>
              <a:ext uri="{FF2B5EF4-FFF2-40B4-BE49-F238E27FC236}">
                <a16:creationId xmlns:a16="http://schemas.microsoft.com/office/drawing/2014/main" id="{14BD0357-727A-4372-9A90-2D6558D0403E}"/>
              </a:ext>
            </a:extLst>
          </p:cNvPr>
          <p:cNvSpPr/>
          <p:nvPr/>
        </p:nvSpPr>
        <p:spPr bwMode="auto">
          <a:xfrm>
            <a:off x="2296273" y="4410084"/>
            <a:ext cx="1645920" cy="640080"/>
          </a:xfrm>
          <a:prstGeom prst="ellipse">
            <a:avLst/>
          </a:prstGeom>
          <a:noFill/>
          <a:ln w="82550">
            <a:solidFill>
              <a:srgbClr val="07AADB"/>
            </a:solidFill>
            <a:round/>
            <a:headEnd/>
            <a:tailEnd/>
          </a:ln>
        </p:spPr>
        <p:txBody>
          <a:bodyPr wrap="square" lIns="0" tIns="0" rIns="0" bIns="0" rtlCol="0" anchor="ctr">
            <a:noAutofit/>
          </a:bodyPr>
          <a:lstStyle/>
          <a:p>
            <a:pPr algn="l"/>
            <a:endParaRPr lang="en-IN" dirty="0">
              <a:solidFill>
                <a:schemeClr val="tx2"/>
              </a:solidFill>
            </a:endParaRPr>
          </a:p>
        </p:txBody>
      </p:sp>
      <p:sp>
        <p:nvSpPr>
          <p:cNvPr id="71" name="Oval 70">
            <a:extLst>
              <a:ext uri="{FF2B5EF4-FFF2-40B4-BE49-F238E27FC236}">
                <a16:creationId xmlns:a16="http://schemas.microsoft.com/office/drawing/2014/main" id="{F92058E5-A35B-40FF-814D-3EB8BCC2844B}"/>
              </a:ext>
            </a:extLst>
          </p:cNvPr>
          <p:cNvSpPr/>
          <p:nvPr/>
        </p:nvSpPr>
        <p:spPr bwMode="auto">
          <a:xfrm>
            <a:off x="4132989" y="3955951"/>
            <a:ext cx="1645920" cy="640080"/>
          </a:xfrm>
          <a:prstGeom prst="ellipse">
            <a:avLst/>
          </a:prstGeom>
          <a:noFill/>
          <a:ln w="82550">
            <a:solidFill>
              <a:srgbClr val="07AADB"/>
            </a:solidFill>
            <a:round/>
            <a:headEnd/>
            <a:tailEnd/>
          </a:ln>
        </p:spPr>
        <p:txBody>
          <a:bodyPr wrap="square" lIns="0" tIns="0" rIns="0" bIns="0" rtlCol="0" anchor="ctr">
            <a:noAutofit/>
          </a:bodyPr>
          <a:lstStyle/>
          <a:p>
            <a:pPr algn="l"/>
            <a:endParaRPr lang="en-IN" dirty="0">
              <a:solidFill>
                <a:schemeClr val="tx2"/>
              </a:solidFill>
            </a:endParaRPr>
          </a:p>
        </p:txBody>
      </p:sp>
      <p:sp>
        <p:nvSpPr>
          <p:cNvPr id="72" name="Oval 71">
            <a:extLst>
              <a:ext uri="{FF2B5EF4-FFF2-40B4-BE49-F238E27FC236}">
                <a16:creationId xmlns:a16="http://schemas.microsoft.com/office/drawing/2014/main" id="{96D9608A-933E-45E9-BA33-2E2DC6A3BA78}"/>
              </a:ext>
            </a:extLst>
          </p:cNvPr>
          <p:cNvSpPr/>
          <p:nvPr/>
        </p:nvSpPr>
        <p:spPr bwMode="auto">
          <a:xfrm>
            <a:off x="4102242" y="4781325"/>
            <a:ext cx="1645920" cy="640080"/>
          </a:xfrm>
          <a:prstGeom prst="ellipse">
            <a:avLst/>
          </a:prstGeom>
          <a:noFill/>
          <a:ln w="82550">
            <a:solidFill>
              <a:srgbClr val="07AADB"/>
            </a:solidFill>
            <a:round/>
            <a:headEnd/>
            <a:tailEnd/>
          </a:ln>
        </p:spPr>
        <p:txBody>
          <a:bodyPr wrap="square" lIns="0" tIns="0" rIns="0" bIns="0" rtlCol="0" anchor="ctr">
            <a:noAutofit/>
          </a:bodyPr>
          <a:lstStyle/>
          <a:p>
            <a:pPr algn="l"/>
            <a:endParaRPr lang="en-IN" dirty="0">
              <a:solidFill>
                <a:schemeClr val="tx2"/>
              </a:solidFill>
            </a:endParaRPr>
          </a:p>
        </p:txBody>
      </p:sp>
      <p:sp>
        <p:nvSpPr>
          <p:cNvPr id="73" name="Oval 72">
            <a:extLst>
              <a:ext uri="{FF2B5EF4-FFF2-40B4-BE49-F238E27FC236}">
                <a16:creationId xmlns:a16="http://schemas.microsoft.com/office/drawing/2014/main" id="{437590DA-CA42-4EB1-99BF-6CECE46A1807}"/>
              </a:ext>
            </a:extLst>
          </p:cNvPr>
          <p:cNvSpPr/>
          <p:nvPr/>
        </p:nvSpPr>
        <p:spPr bwMode="auto">
          <a:xfrm>
            <a:off x="5969705" y="4447261"/>
            <a:ext cx="1645920" cy="640080"/>
          </a:xfrm>
          <a:prstGeom prst="ellipse">
            <a:avLst/>
          </a:prstGeom>
          <a:noFill/>
          <a:ln w="82550">
            <a:solidFill>
              <a:srgbClr val="07AADB"/>
            </a:solidFill>
            <a:round/>
            <a:headEnd/>
            <a:tailEnd/>
          </a:ln>
        </p:spPr>
        <p:txBody>
          <a:bodyPr wrap="square" lIns="0" tIns="0" rIns="0" bIns="0" rtlCol="0" anchor="ctr">
            <a:noAutofit/>
          </a:bodyPr>
          <a:lstStyle/>
          <a:p>
            <a:pPr algn="l"/>
            <a:endParaRPr lang="en-IN" dirty="0">
              <a:solidFill>
                <a:schemeClr val="tx2"/>
              </a:solidFill>
            </a:endParaRPr>
          </a:p>
        </p:txBody>
      </p:sp>
      <p:sp>
        <p:nvSpPr>
          <p:cNvPr id="74" name="Oval 73">
            <a:extLst>
              <a:ext uri="{FF2B5EF4-FFF2-40B4-BE49-F238E27FC236}">
                <a16:creationId xmlns:a16="http://schemas.microsoft.com/office/drawing/2014/main" id="{C42DDAB9-6204-424C-92B3-3E1D3E73AC61}"/>
              </a:ext>
            </a:extLst>
          </p:cNvPr>
          <p:cNvSpPr/>
          <p:nvPr/>
        </p:nvSpPr>
        <p:spPr bwMode="auto">
          <a:xfrm>
            <a:off x="7803399" y="3955951"/>
            <a:ext cx="1645920" cy="640080"/>
          </a:xfrm>
          <a:prstGeom prst="ellipse">
            <a:avLst/>
          </a:prstGeom>
          <a:noFill/>
          <a:ln w="82550">
            <a:solidFill>
              <a:srgbClr val="07AADB"/>
            </a:solidFill>
            <a:round/>
            <a:headEnd/>
            <a:tailEnd/>
          </a:ln>
        </p:spPr>
        <p:txBody>
          <a:bodyPr wrap="square" lIns="0" tIns="0" rIns="0" bIns="0" rtlCol="0" anchor="ctr">
            <a:noAutofit/>
          </a:bodyPr>
          <a:lstStyle/>
          <a:p>
            <a:pPr algn="l"/>
            <a:endParaRPr lang="en-IN" dirty="0">
              <a:solidFill>
                <a:schemeClr val="tx2"/>
              </a:solidFill>
            </a:endParaRPr>
          </a:p>
        </p:txBody>
      </p:sp>
      <p:sp>
        <p:nvSpPr>
          <p:cNvPr id="75" name="Oval 74">
            <a:extLst>
              <a:ext uri="{FF2B5EF4-FFF2-40B4-BE49-F238E27FC236}">
                <a16:creationId xmlns:a16="http://schemas.microsoft.com/office/drawing/2014/main" id="{D1DF44AC-85BB-4ED6-A8AB-BC6F8844CCD8}"/>
              </a:ext>
            </a:extLst>
          </p:cNvPr>
          <p:cNvSpPr/>
          <p:nvPr/>
        </p:nvSpPr>
        <p:spPr bwMode="auto">
          <a:xfrm>
            <a:off x="7804377" y="4781660"/>
            <a:ext cx="1645920" cy="640080"/>
          </a:xfrm>
          <a:prstGeom prst="ellipse">
            <a:avLst/>
          </a:prstGeom>
          <a:noFill/>
          <a:ln w="82550">
            <a:solidFill>
              <a:srgbClr val="07AADB"/>
            </a:solidFill>
            <a:round/>
            <a:headEnd/>
            <a:tailEnd/>
          </a:ln>
        </p:spPr>
        <p:txBody>
          <a:bodyPr wrap="square" lIns="0" tIns="0" rIns="0" bIns="0" rtlCol="0" anchor="ctr">
            <a:noAutofit/>
          </a:bodyPr>
          <a:lstStyle/>
          <a:p>
            <a:pPr algn="l"/>
            <a:endParaRPr lang="en-IN" dirty="0">
              <a:solidFill>
                <a:schemeClr val="tx2"/>
              </a:solidFill>
            </a:endParaRPr>
          </a:p>
        </p:txBody>
      </p:sp>
      <p:sp>
        <p:nvSpPr>
          <p:cNvPr id="76" name="TextBox 75">
            <a:extLst>
              <a:ext uri="{FF2B5EF4-FFF2-40B4-BE49-F238E27FC236}">
                <a16:creationId xmlns:a16="http://schemas.microsoft.com/office/drawing/2014/main" id="{F3F909F6-3387-4585-BB17-9CF579213667}"/>
              </a:ext>
            </a:extLst>
          </p:cNvPr>
          <p:cNvSpPr txBox="1"/>
          <p:nvPr/>
        </p:nvSpPr>
        <p:spPr>
          <a:xfrm>
            <a:off x="6125911" y="4402655"/>
            <a:ext cx="1371600" cy="548640"/>
          </a:xfrm>
          <a:prstGeom prst="rect">
            <a:avLst/>
          </a:prstGeom>
          <a:noFill/>
          <a:ln>
            <a:noFill/>
          </a:ln>
        </p:spPr>
        <p:txBody>
          <a:bodyPr wrap="square" lIns="182880" tIns="182880" rIns="182880" bIns="182880" rtlCol="0">
            <a:noAutofit/>
          </a:bodyPr>
          <a:lstStyle/>
          <a:p>
            <a:pPr marL="0" indent="0">
              <a:buNone/>
            </a:pPr>
            <a:r>
              <a:rPr lang="en-IN" dirty="0">
                <a:solidFill>
                  <a:srgbClr val="03556D"/>
                </a:solidFill>
                <a:latin typeface="+mn-lt"/>
              </a:rPr>
              <a:t>Sign up for test project</a:t>
            </a:r>
          </a:p>
        </p:txBody>
      </p:sp>
      <p:sp>
        <p:nvSpPr>
          <p:cNvPr id="77" name="Oval 76">
            <a:extLst>
              <a:ext uri="{FF2B5EF4-FFF2-40B4-BE49-F238E27FC236}">
                <a16:creationId xmlns:a16="http://schemas.microsoft.com/office/drawing/2014/main" id="{9D06668E-8310-4E8C-AB9D-F80D57DD6DE8}"/>
              </a:ext>
            </a:extLst>
          </p:cNvPr>
          <p:cNvSpPr/>
          <p:nvPr/>
        </p:nvSpPr>
        <p:spPr bwMode="auto">
          <a:xfrm>
            <a:off x="4119021" y="5607150"/>
            <a:ext cx="1645920" cy="640080"/>
          </a:xfrm>
          <a:prstGeom prst="ellipse">
            <a:avLst/>
          </a:prstGeom>
          <a:noFill/>
          <a:ln w="82550">
            <a:solidFill>
              <a:srgbClr val="07AADB"/>
            </a:solidFill>
            <a:round/>
            <a:headEnd/>
            <a:tailEnd/>
          </a:ln>
        </p:spPr>
        <p:txBody>
          <a:bodyPr wrap="square" lIns="0" tIns="0" rIns="0" bIns="0" rtlCol="0" anchor="ctr">
            <a:noAutofit/>
          </a:bodyPr>
          <a:lstStyle/>
          <a:p>
            <a:pPr algn="l"/>
            <a:endParaRPr lang="en-IN" dirty="0">
              <a:solidFill>
                <a:schemeClr val="tx2"/>
              </a:solidFill>
            </a:endParaRPr>
          </a:p>
        </p:txBody>
      </p:sp>
      <p:sp>
        <p:nvSpPr>
          <p:cNvPr id="78" name="TextBox 77">
            <a:extLst>
              <a:ext uri="{FF2B5EF4-FFF2-40B4-BE49-F238E27FC236}">
                <a16:creationId xmlns:a16="http://schemas.microsoft.com/office/drawing/2014/main" id="{CCFF99D4-A826-44EA-8214-8AED8BFA44C1}"/>
              </a:ext>
            </a:extLst>
          </p:cNvPr>
          <p:cNvSpPr txBox="1"/>
          <p:nvPr/>
        </p:nvSpPr>
        <p:spPr>
          <a:xfrm>
            <a:off x="2443840" y="4460352"/>
            <a:ext cx="1371600" cy="548640"/>
          </a:xfrm>
          <a:prstGeom prst="rect">
            <a:avLst/>
          </a:prstGeom>
          <a:noFill/>
          <a:ln>
            <a:noFill/>
          </a:ln>
        </p:spPr>
        <p:txBody>
          <a:bodyPr wrap="square" lIns="182880" tIns="182880" rIns="182880" bIns="182880" rtlCol="0">
            <a:noAutofit/>
          </a:bodyPr>
          <a:lstStyle/>
          <a:p>
            <a:pPr marL="0" indent="0">
              <a:buNone/>
            </a:pPr>
            <a:r>
              <a:rPr lang="en-IN" dirty="0">
                <a:solidFill>
                  <a:srgbClr val="03556D"/>
                </a:solidFill>
                <a:latin typeface="+mn-lt"/>
              </a:rPr>
              <a:t>Online Ads</a:t>
            </a:r>
          </a:p>
        </p:txBody>
      </p:sp>
      <p:sp>
        <p:nvSpPr>
          <p:cNvPr id="79" name="TextBox 78">
            <a:extLst>
              <a:ext uri="{FF2B5EF4-FFF2-40B4-BE49-F238E27FC236}">
                <a16:creationId xmlns:a16="http://schemas.microsoft.com/office/drawing/2014/main" id="{C2A3B0D7-C2BF-48E7-93AB-6D46C1E860A6}"/>
              </a:ext>
            </a:extLst>
          </p:cNvPr>
          <p:cNvSpPr txBox="1"/>
          <p:nvPr/>
        </p:nvSpPr>
        <p:spPr>
          <a:xfrm>
            <a:off x="4267200" y="3987769"/>
            <a:ext cx="1371600" cy="548640"/>
          </a:xfrm>
          <a:prstGeom prst="rect">
            <a:avLst/>
          </a:prstGeom>
          <a:noFill/>
          <a:ln>
            <a:noFill/>
          </a:ln>
        </p:spPr>
        <p:txBody>
          <a:bodyPr wrap="square" lIns="182880" tIns="182880" rIns="182880" bIns="182880" rtlCol="0">
            <a:noAutofit/>
          </a:bodyPr>
          <a:lstStyle/>
          <a:p>
            <a:r>
              <a:rPr lang="en-IN" dirty="0">
                <a:solidFill>
                  <a:srgbClr val="03556D"/>
                </a:solidFill>
                <a:latin typeface="+mn-lt"/>
              </a:rPr>
              <a:t>Phone calls</a:t>
            </a:r>
          </a:p>
          <a:p>
            <a:endParaRPr lang="en-IN" dirty="0">
              <a:solidFill>
                <a:srgbClr val="03556D"/>
              </a:solidFill>
              <a:latin typeface="+mn-lt"/>
            </a:endParaRPr>
          </a:p>
        </p:txBody>
      </p:sp>
      <p:sp>
        <p:nvSpPr>
          <p:cNvPr id="80" name="TextBox 79">
            <a:extLst>
              <a:ext uri="{FF2B5EF4-FFF2-40B4-BE49-F238E27FC236}">
                <a16:creationId xmlns:a16="http://schemas.microsoft.com/office/drawing/2014/main" id="{D4EFDB91-B32F-49DE-A50B-2291298F3B28}"/>
              </a:ext>
            </a:extLst>
          </p:cNvPr>
          <p:cNvSpPr txBox="1"/>
          <p:nvPr/>
        </p:nvSpPr>
        <p:spPr>
          <a:xfrm>
            <a:off x="4145412" y="4828506"/>
            <a:ext cx="1600200" cy="548640"/>
          </a:xfrm>
          <a:prstGeom prst="rect">
            <a:avLst/>
          </a:prstGeom>
          <a:noFill/>
          <a:ln>
            <a:noFill/>
          </a:ln>
        </p:spPr>
        <p:txBody>
          <a:bodyPr wrap="square" lIns="182880" tIns="182880" rIns="182880" bIns="182880" rtlCol="0">
            <a:noAutofit/>
          </a:bodyPr>
          <a:lstStyle/>
          <a:p>
            <a:r>
              <a:rPr lang="en-IN" dirty="0">
                <a:solidFill>
                  <a:srgbClr val="03556D"/>
                </a:solidFill>
                <a:latin typeface="+mn-lt"/>
              </a:rPr>
              <a:t>Email enquiries</a:t>
            </a:r>
          </a:p>
          <a:p>
            <a:endParaRPr lang="en-IN" dirty="0">
              <a:solidFill>
                <a:srgbClr val="03556D"/>
              </a:solidFill>
              <a:latin typeface="+mn-lt"/>
            </a:endParaRPr>
          </a:p>
        </p:txBody>
      </p:sp>
      <p:sp>
        <p:nvSpPr>
          <p:cNvPr id="81" name="TextBox 80">
            <a:extLst>
              <a:ext uri="{FF2B5EF4-FFF2-40B4-BE49-F238E27FC236}">
                <a16:creationId xmlns:a16="http://schemas.microsoft.com/office/drawing/2014/main" id="{3E700F24-2F4A-4EA6-AB62-DA84F9E8C618}"/>
              </a:ext>
            </a:extLst>
          </p:cNvPr>
          <p:cNvSpPr txBox="1"/>
          <p:nvPr/>
        </p:nvSpPr>
        <p:spPr>
          <a:xfrm>
            <a:off x="4267200" y="5652420"/>
            <a:ext cx="1371600" cy="548640"/>
          </a:xfrm>
          <a:prstGeom prst="rect">
            <a:avLst/>
          </a:prstGeom>
          <a:noFill/>
          <a:ln>
            <a:noFill/>
          </a:ln>
        </p:spPr>
        <p:txBody>
          <a:bodyPr wrap="square" lIns="182880" tIns="182880" rIns="182880" bIns="182880" rtlCol="0">
            <a:noAutofit/>
          </a:bodyPr>
          <a:lstStyle/>
          <a:p>
            <a:r>
              <a:rPr lang="en-IN" dirty="0">
                <a:solidFill>
                  <a:srgbClr val="03556D"/>
                </a:solidFill>
                <a:latin typeface="+mn-lt"/>
              </a:rPr>
              <a:t>Website</a:t>
            </a:r>
          </a:p>
          <a:p>
            <a:endParaRPr lang="en-IN" dirty="0">
              <a:solidFill>
                <a:srgbClr val="03556D"/>
              </a:solidFill>
              <a:latin typeface="+mn-lt"/>
            </a:endParaRPr>
          </a:p>
        </p:txBody>
      </p:sp>
      <p:sp>
        <p:nvSpPr>
          <p:cNvPr id="82" name="TextBox 81">
            <a:extLst>
              <a:ext uri="{FF2B5EF4-FFF2-40B4-BE49-F238E27FC236}">
                <a16:creationId xmlns:a16="http://schemas.microsoft.com/office/drawing/2014/main" id="{A48430F9-4FC0-4360-BDF4-56F3C0BA06BB}"/>
              </a:ext>
            </a:extLst>
          </p:cNvPr>
          <p:cNvSpPr txBox="1"/>
          <p:nvPr/>
        </p:nvSpPr>
        <p:spPr>
          <a:xfrm>
            <a:off x="7952623" y="4006845"/>
            <a:ext cx="1371600" cy="548640"/>
          </a:xfrm>
          <a:prstGeom prst="rect">
            <a:avLst/>
          </a:prstGeom>
          <a:noFill/>
          <a:ln>
            <a:noFill/>
          </a:ln>
        </p:spPr>
        <p:txBody>
          <a:bodyPr wrap="square" lIns="182880" tIns="182880" rIns="182880" bIns="182880" rtlCol="0">
            <a:noAutofit/>
          </a:bodyPr>
          <a:lstStyle/>
          <a:p>
            <a:r>
              <a:rPr lang="en-IN" dirty="0">
                <a:solidFill>
                  <a:srgbClr val="03556D"/>
                </a:solidFill>
                <a:latin typeface="+mn-lt"/>
              </a:rPr>
              <a:t>Referrals</a:t>
            </a:r>
          </a:p>
          <a:p>
            <a:endParaRPr lang="en-IN" dirty="0">
              <a:solidFill>
                <a:srgbClr val="03556D"/>
              </a:solidFill>
              <a:latin typeface="+mn-lt"/>
            </a:endParaRPr>
          </a:p>
        </p:txBody>
      </p:sp>
      <p:sp>
        <p:nvSpPr>
          <p:cNvPr id="83" name="TextBox 82">
            <a:extLst>
              <a:ext uri="{FF2B5EF4-FFF2-40B4-BE49-F238E27FC236}">
                <a16:creationId xmlns:a16="http://schemas.microsoft.com/office/drawing/2014/main" id="{11849F14-D326-45B4-AB17-1AEE15A3EB54}"/>
              </a:ext>
            </a:extLst>
          </p:cNvPr>
          <p:cNvSpPr txBox="1"/>
          <p:nvPr/>
        </p:nvSpPr>
        <p:spPr>
          <a:xfrm>
            <a:off x="7940809" y="4817575"/>
            <a:ext cx="1371600" cy="548640"/>
          </a:xfrm>
          <a:prstGeom prst="rect">
            <a:avLst/>
          </a:prstGeom>
          <a:noFill/>
          <a:ln>
            <a:noFill/>
          </a:ln>
        </p:spPr>
        <p:txBody>
          <a:bodyPr wrap="square" lIns="182880" tIns="182880" rIns="182880" bIns="182880" rtlCol="0">
            <a:noAutofit/>
          </a:bodyPr>
          <a:lstStyle/>
          <a:p>
            <a:r>
              <a:rPr lang="en-IN" dirty="0">
                <a:solidFill>
                  <a:srgbClr val="03556D"/>
                </a:solidFill>
                <a:latin typeface="+mn-lt"/>
              </a:rPr>
              <a:t>More users</a:t>
            </a:r>
          </a:p>
          <a:p>
            <a:endParaRPr lang="en-IN" dirty="0">
              <a:solidFill>
                <a:srgbClr val="03556D"/>
              </a:solidFill>
              <a:latin typeface="+mn-lt"/>
            </a:endParaRPr>
          </a:p>
        </p:txBody>
      </p:sp>
      <p:grpSp>
        <p:nvGrpSpPr>
          <p:cNvPr id="98" name="Group 97">
            <a:extLst>
              <a:ext uri="{FF2B5EF4-FFF2-40B4-BE49-F238E27FC236}">
                <a16:creationId xmlns:a16="http://schemas.microsoft.com/office/drawing/2014/main" id="{89CBF120-A720-43BD-AD05-C8C01D8FB0F8}"/>
              </a:ext>
            </a:extLst>
          </p:cNvPr>
          <p:cNvGrpSpPr/>
          <p:nvPr/>
        </p:nvGrpSpPr>
        <p:grpSpPr>
          <a:xfrm>
            <a:off x="1105893" y="3687744"/>
            <a:ext cx="91440" cy="661112"/>
            <a:chOff x="1098177" y="3675582"/>
            <a:chExt cx="91440" cy="661112"/>
          </a:xfrm>
          <a:solidFill>
            <a:srgbClr val="063C57"/>
          </a:solidFill>
        </p:grpSpPr>
        <p:sp>
          <p:nvSpPr>
            <p:cNvPr id="99" name="Flowchart: Sort 98">
              <a:extLst>
                <a:ext uri="{FF2B5EF4-FFF2-40B4-BE49-F238E27FC236}">
                  <a16:creationId xmlns:a16="http://schemas.microsoft.com/office/drawing/2014/main" id="{1ABE8979-C6BE-491E-A62B-ED6A3E6C8C3B}"/>
                </a:ext>
              </a:extLst>
            </p:cNvPr>
            <p:cNvSpPr/>
            <p:nvPr/>
          </p:nvSpPr>
          <p:spPr bwMode="auto">
            <a:xfrm>
              <a:off x="1098177" y="3675582"/>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0" name="Flowchart: Sort 99">
              <a:extLst>
                <a:ext uri="{FF2B5EF4-FFF2-40B4-BE49-F238E27FC236}">
                  <a16:creationId xmlns:a16="http://schemas.microsoft.com/office/drawing/2014/main" id="{BD097BBB-AFD5-4164-B778-59ECD6516176}"/>
                </a:ext>
              </a:extLst>
            </p:cNvPr>
            <p:cNvSpPr/>
            <p:nvPr/>
          </p:nvSpPr>
          <p:spPr bwMode="auto">
            <a:xfrm>
              <a:off x="1098177" y="3818000"/>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1" name="Flowchart: Sort 100">
              <a:extLst>
                <a:ext uri="{FF2B5EF4-FFF2-40B4-BE49-F238E27FC236}">
                  <a16:creationId xmlns:a16="http://schemas.microsoft.com/office/drawing/2014/main" id="{5EAAEF15-B165-4973-924F-C81CA053EB5E}"/>
                </a:ext>
              </a:extLst>
            </p:cNvPr>
            <p:cNvSpPr/>
            <p:nvPr/>
          </p:nvSpPr>
          <p:spPr bwMode="auto">
            <a:xfrm>
              <a:off x="1098177" y="3960418"/>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2" name="Flowchart: Sort 101">
              <a:extLst>
                <a:ext uri="{FF2B5EF4-FFF2-40B4-BE49-F238E27FC236}">
                  <a16:creationId xmlns:a16="http://schemas.microsoft.com/office/drawing/2014/main" id="{E93CF86F-51A1-4F2D-A872-4D0DC740809C}"/>
                </a:ext>
              </a:extLst>
            </p:cNvPr>
            <p:cNvSpPr/>
            <p:nvPr/>
          </p:nvSpPr>
          <p:spPr bwMode="auto">
            <a:xfrm>
              <a:off x="1098177" y="4102836"/>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3" name="Flowchart: Sort 102">
              <a:extLst>
                <a:ext uri="{FF2B5EF4-FFF2-40B4-BE49-F238E27FC236}">
                  <a16:creationId xmlns:a16="http://schemas.microsoft.com/office/drawing/2014/main" id="{7972AC89-8D84-4B3D-987A-387EAC5BE1BF}"/>
                </a:ext>
              </a:extLst>
            </p:cNvPr>
            <p:cNvSpPr/>
            <p:nvPr/>
          </p:nvSpPr>
          <p:spPr bwMode="auto">
            <a:xfrm>
              <a:off x="1098177" y="4245254"/>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grpSp>
      <p:grpSp>
        <p:nvGrpSpPr>
          <p:cNvPr id="104" name="Group 103">
            <a:extLst>
              <a:ext uri="{FF2B5EF4-FFF2-40B4-BE49-F238E27FC236}">
                <a16:creationId xmlns:a16="http://schemas.microsoft.com/office/drawing/2014/main" id="{D410877C-4F5F-43BC-A306-3B70455C8792}"/>
              </a:ext>
            </a:extLst>
          </p:cNvPr>
          <p:cNvGrpSpPr/>
          <p:nvPr/>
        </p:nvGrpSpPr>
        <p:grpSpPr>
          <a:xfrm>
            <a:off x="3006659" y="3701283"/>
            <a:ext cx="91440" cy="661112"/>
            <a:chOff x="1098177" y="3675582"/>
            <a:chExt cx="91440" cy="661112"/>
          </a:xfrm>
          <a:solidFill>
            <a:srgbClr val="063C57"/>
          </a:solidFill>
        </p:grpSpPr>
        <p:sp>
          <p:nvSpPr>
            <p:cNvPr id="105" name="Flowchart: Sort 104">
              <a:extLst>
                <a:ext uri="{FF2B5EF4-FFF2-40B4-BE49-F238E27FC236}">
                  <a16:creationId xmlns:a16="http://schemas.microsoft.com/office/drawing/2014/main" id="{0D8624B6-855E-4476-B63A-B5130D147764}"/>
                </a:ext>
              </a:extLst>
            </p:cNvPr>
            <p:cNvSpPr/>
            <p:nvPr/>
          </p:nvSpPr>
          <p:spPr bwMode="auto">
            <a:xfrm>
              <a:off x="1098177" y="3675582"/>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6" name="Flowchart: Sort 105">
              <a:extLst>
                <a:ext uri="{FF2B5EF4-FFF2-40B4-BE49-F238E27FC236}">
                  <a16:creationId xmlns:a16="http://schemas.microsoft.com/office/drawing/2014/main" id="{72BE2F7C-16A8-45D1-96E4-8363E3A8B5D4}"/>
                </a:ext>
              </a:extLst>
            </p:cNvPr>
            <p:cNvSpPr/>
            <p:nvPr/>
          </p:nvSpPr>
          <p:spPr bwMode="auto">
            <a:xfrm>
              <a:off x="1098177" y="3818000"/>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7" name="Flowchart: Sort 106">
              <a:extLst>
                <a:ext uri="{FF2B5EF4-FFF2-40B4-BE49-F238E27FC236}">
                  <a16:creationId xmlns:a16="http://schemas.microsoft.com/office/drawing/2014/main" id="{E166E1AC-44E9-4FB3-A176-660AA049200F}"/>
                </a:ext>
              </a:extLst>
            </p:cNvPr>
            <p:cNvSpPr/>
            <p:nvPr/>
          </p:nvSpPr>
          <p:spPr bwMode="auto">
            <a:xfrm>
              <a:off x="1098177" y="3960418"/>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8" name="Flowchart: Sort 107">
              <a:extLst>
                <a:ext uri="{FF2B5EF4-FFF2-40B4-BE49-F238E27FC236}">
                  <a16:creationId xmlns:a16="http://schemas.microsoft.com/office/drawing/2014/main" id="{BAEF2F63-E550-4C8C-91CF-C4CA1FD0F966}"/>
                </a:ext>
              </a:extLst>
            </p:cNvPr>
            <p:cNvSpPr/>
            <p:nvPr/>
          </p:nvSpPr>
          <p:spPr bwMode="auto">
            <a:xfrm>
              <a:off x="1098177" y="4102836"/>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9" name="Flowchart: Sort 108">
              <a:extLst>
                <a:ext uri="{FF2B5EF4-FFF2-40B4-BE49-F238E27FC236}">
                  <a16:creationId xmlns:a16="http://schemas.microsoft.com/office/drawing/2014/main" id="{FAD8867E-B1B1-46C9-8413-8A3C7C430B53}"/>
                </a:ext>
              </a:extLst>
            </p:cNvPr>
            <p:cNvSpPr/>
            <p:nvPr/>
          </p:nvSpPr>
          <p:spPr bwMode="auto">
            <a:xfrm>
              <a:off x="1098177" y="4245254"/>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grpSp>
      <p:grpSp>
        <p:nvGrpSpPr>
          <p:cNvPr id="110" name="Group 109">
            <a:extLst>
              <a:ext uri="{FF2B5EF4-FFF2-40B4-BE49-F238E27FC236}">
                <a16:creationId xmlns:a16="http://schemas.microsoft.com/office/drawing/2014/main" id="{5A42CF9C-8899-4C0F-B6FA-F6A9A3743BB8}"/>
              </a:ext>
            </a:extLst>
          </p:cNvPr>
          <p:cNvGrpSpPr/>
          <p:nvPr/>
        </p:nvGrpSpPr>
        <p:grpSpPr>
          <a:xfrm>
            <a:off x="6814615" y="3719409"/>
            <a:ext cx="91440" cy="661112"/>
            <a:chOff x="1098177" y="3675582"/>
            <a:chExt cx="91440" cy="661112"/>
          </a:xfrm>
          <a:solidFill>
            <a:srgbClr val="063C57"/>
          </a:solidFill>
        </p:grpSpPr>
        <p:sp>
          <p:nvSpPr>
            <p:cNvPr id="111" name="Flowchart: Sort 110">
              <a:extLst>
                <a:ext uri="{FF2B5EF4-FFF2-40B4-BE49-F238E27FC236}">
                  <a16:creationId xmlns:a16="http://schemas.microsoft.com/office/drawing/2014/main" id="{3BF22C5B-F1CC-4FDF-AFA8-957AB2C4250B}"/>
                </a:ext>
              </a:extLst>
            </p:cNvPr>
            <p:cNvSpPr/>
            <p:nvPr/>
          </p:nvSpPr>
          <p:spPr bwMode="auto">
            <a:xfrm>
              <a:off x="1098177" y="3675582"/>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12" name="Flowchart: Sort 111">
              <a:extLst>
                <a:ext uri="{FF2B5EF4-FFF2-40B4-BE49-F238E27FC236}">
                  <a16:creationId xmlns:a16="http://schemas.microsoft.com/office/drawing/2014/main" id="{3151A8AE-E6E0-4C67-BC7B-37798F23300E}"/>
                </a:ext>
              </a:extLst>
            </p:cNvPr>
            <p:cNvSpPr/>
            <p:nvPr/>
          </p:nvSpPr>
          <p:spPr bwMode="auto">
            <a:xfrm>
              <a:off x="1098177" y="3818000"/>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13" name="Flowchart: Sort 112">
              <a:extLst>
                <a:ext uri="{FF2B5EF4-FFF2-40B4-BE49-F238E27FC236}">
                  <a16:creationId xmlns:a16="http://schemas.microsoft.com/office/drawing/2014/main" id="{9229440A-46D5-4F19-BB0B-59AB5D0E7817}"/>
                </a:ext>
              </a:extLst>
            </p:cNvPr>
            <p:cNvSpPr/>
            <p:nvPr/>
          </p:nvSpPr>
          <p:spPr bwMode="auto">
            <a:xfrm>
              <a:off x="1098177" y="3960418"/>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14" name="Flowchart: Sort 113">
              <a:extLst>
                <a:ext uri="{FF2B5EF4-FFF2-40B4-BE49-F238E27FC236}">
                  <a16:creationId xmlns:a16="http://schemas.microsoft.com/office/drawing/2014/main" id="{93061CDD-65CC-4DFB-AC4F-8BCC1C770960}"/>
                </a:ext>
              </a:extLst>
            </p:cNvPr>
            <p:cNvSpPr/>
            <p:nvPr/>
          </p:nvSpPr>
          <p:spPr bwMode="auto">
            <a:xfrm>
              <a:off x="1098177" y="4102836"/>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15" name="Flowchart: Sort 114">
              <a:extLst>
                <a:ext uri="{FF2B5EF4-FFF2-40B4-BE49-F238E27FC236}">
                  <a16:creationId xmlns:a16="http://schemas.microsoft.com/office/drawing/2014/main" id="{449AEE9C-DC45-497F-994B-696A7821FD04}"/>
                </a:ext>
              </a:extLst>
            </p:cNvPr>
            <p:cNvSpPr/>
            <p:nvPr/>
          </p:nvSpPr>
          <p:spPr bwMode="auto">
            <a:xfrm>
              <a:off x="1098177" y="4245254"/>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grpSp>
      <p:grpSp>
        <p:nvGrpSpPr>
          <p:cNvPr id="116" name="Group 115">
            <a:extLst>
              <a:ext uri="{FF2B5EF4-FFF2-40B4-BE49-F238E27FC236}">
                <a16:creationId xmlns:a16="http://schemas.microsoft.com/office/drawing/2014/main" id="{0E6A19CC-D776-4EA3-B1A7-96E664C1318C}"/>
              </a:ext>
            </a:extLst>
          </p:cNvPr>
          <p:cNvGrpSpPr/>
          <p:nvPr/>
        </p:nvGrpSpPr>
        <p:grpSpPr>
          <a:xfrm>
            <a:off x="4911138" y="3699751"/>
            <a:ext cx="105382" cy="1861229"/>
            <a:chOff x="4903422" y="3699751"/>
            <a:chExt cx="105382" cy="1861229"/>
          </a:xfrm>
          <a:solidFill>
            <a:srgbClr val="063C57"/>
          </a:solidFill>
        </p:grpSpPr>
        <p:sp>
          <p:nvSpPr>
            <p:cNvPr id="117" name="Flowchart: Sort 116">
              <a:extLst>
                <a:ext uri="{FF2B5EF4-FFF2-40B4-BE49-F238E27FC236}">
                  <a16:creationId xmlns:a16="http://schemas.microsoft.com/office/drawing/2014/main" id="{04C14447-C176-4C9F-B50B-DF0F1CE5FF8E}"/>
                </a:ext>
              </a:extLst>
            </p:cNvPr>
            <p:cNvSpPr/>
            <p:nvPr/>
          </p:nvSpPr>
          <p:spPr bwMode="auto">
            <a:xfrm>
              <a:off x="4904347" y="3699751"/>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18" name="Flowchart: Sort 117">
              <a:extLst>
                <a:ext uri="{FF2B5EF4-FFF2-40B4-BE49-F238E27FC236}">
                  <a16:creationId xmlns:a16="http://schemas.microsoft.com/office/drawing/2014/main" id="{CE6D51FB-54AC-4BA3-9129-6DA2828B7F2A}"/>
                </a:ext>
              </a:extLst>
            </p:cNvPr>
            <p:cNvSpPr/>
            <p:nvPr/>
          </p:nvSpPr>
          <p:spPr bwMode="auto">
            <a:xfrm>
              <a:off x="4903422" y="3821199"/>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19" name="Flowchart: Sort 118">
              <a:extLst>
                <a:ext uri="{FF2B5EF4-FFF2-40B4-BE49-F238E27FC236}">
                  <a16:creationId xmlns:a16="http://schemas.microsoft.com/office/drawing/2014/main" id="{93829290-E0C8-47CC-A281-368CED9F7B13}"/>
                </a:ext>
              </a:extLst>
            </p:cNvPr>
            <p:cNvSpPr/>
            <p:nvPr/>
          </p:nvSpPr>
          <p:spPr bwMode="auto">
            <a:xfrm>
              <a:off x="4904347" y="4645055"/>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20" name="Flowchart: Sort 119">
              <a:extLst>
                <a:ext uri="{FF2B5EF4-FFF2-40B4-BE49-F238E27FC236}">
                  <a16:creationId xmlns:a16="http://schemas.microsoft.com/office/drawing/2014/main" id="{0DE9FF93-9BB3-484B-A344-67E33F8959F0}"/>
                </a:ext>
              </a:extLst>
            </p:cNvPr>
            <p:cNvSpPr/>
            <p:nvPr/>
          </p:nvSpPr>
          <p:spPr bwMode="auto">
            <a:xfrm>
              <a:off x="4917364" y="5469540"/>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grpSp>
      <p:grpSp>
        <p:nvGrpSpPr>
          <p:cNvPr id="121" name="Group 120">
            <a:extLst>
              <a:ext uri="{FF2B5EF4-FFF2-40B4-BE49-F238E27FC236}">
                <a16:creationId xmlns:a16="http://schemas.microsoft.com/office/drawing/2014/main" id="{FEA20352-CF16-4BC2-8CC4-DE442FBCC092}"/>
              </a:ext>
            </a:extLst>
          </p:cNvPr>
          <p:cNvGrpSpPr/>
          <p:nvPr/>
        </p:nvGrpSpPr>
        <p:grpSpPr>
          <a:xfrm>
            <a:off x="8714697" y="3697145"/>
            <a:ext cx="96224" cy="1037527"/>
            <a:chOff x="8714697" y="3697145"/>
            <a:chExt cx="96224" cy="1037527"/>
          </a:xfrm>
          <a:solidFill>
            <a:srgbClr val="063C57"/>
          </a:solidFill>
        </p:grpSpPr>
        <p:sp>
          <p:nvSpPr>
            <p:cNvPr id="122" name="Flowchart: Sort 121">
              <a:extLst>
                <a:ext uri="{FF2B5EF4-FFF2-40B4-BE49-F238E27FC236}">
                  <a16:creationId xmlns:a16="http://schemas.microsoft.com/office/drawing/2014/main" id="{B80E852F-17F8-4FC0-B51C-978547430D3A}"/>
                </a:ext>
              </a:extLst>
            </p:cNvPr>
            <p:cNvSpPr/>
            <p:nvPr/>
          </p:nvSpPr>
          <p:spPr bwMode="auto">
            <a:xfrm>
              <a:off x="8716383" y="3697145"/>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23" name="Flowchart: Sort 122">
              <a:extLst>
                <a:ext uri="{FF2B5EF4-FFF2-40B4-BE49-F238E27FC236}">
                  <a16:creationId xmlns:a16="http://schemas.microsoft.com/office/drawing/2014/main" id="{27F4E62F-E857-4133-8D43-27D9F5FCFF82}"/>
                </a:ext>
              </a:extLst>
            </p:cNvPr>
            <p:cNvSpPr/>
            <p:nvPr/>
          </p:nvSpPr>
          <p:spPr bwMode="auto">
            <a:xfrm>
              <a:off x="8714697" y="3808986"/>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24" name="Flowchart: Sort 123">
              <a:extLst>
                <a:ext uri="{FF2B5EF4-FFF2-40B4-BE49-F238E27FC236}">
                  <a16:creationId xmlns:a16="http://schemas.microsoft.com/office/drawing/2014/main" id="{0B6EDC42-BDB5-4F96-B9FF-ACBBD4087F2D}"/>
                </a:ext>
              </a:extLst>
            </p:cNvPr>
            <p:cNvSpPr/>
            <p:nvPr/>
          </p:nvSpPr>
          <p:spPr bwMode="auto">
            <a:xfrm>
              <a:off x="8719481" y="4643232"/>
              <a:ext cx="91440" cy="91440"/>
            </a:xfrm>
            <a:prstGeom prst="flowChartSort">
              <a:avLst/>
            </a:prstGeom>
            <a:grpFill/>
            <a:ln w="12700">
              <a:noFill/>
              <a:round/>
              <a:headEnd/>
              <a:tailEnd/>
            </a:ln>
          </p:spPr>
          <p:txBody>
            <a:bodyPr wrap="square" lIns="0" tIns="0" rIns="0" bIns="0" rtlCol="0" anchor="ctr">
              <a:noAutofit/>
            </a:bodyPr>
            <a:lstStyle/>
            <a:p>
              <a:pPr algn="l"/>
              <a:endParaRPr lang="en-IN" dirty="0">
                <a:solidFill>
                  <a:schemeClr val="tx2"/>
                </a:solidFill>
              </a:endParaRPr>
            </a:p>
          </p:txBody>
        </p:sp>
      </p:grpSp>
    </p:spTree>
    <p:extLst>
      <p:ext uri="{BB962C8B-B14F-4D97-AF65-F5344CB8AC3E}">
        <p14:creationId xmlns:p14="http://schemas.microsoft.com/office/powerpoint/2010/main" val="136479429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4E5050F5-7B20-45B3-BA15-559C4CBD9832}"/>
              </a:ext>
            </a:extLst>
          </p:cNvPr>
          <p:cNvSpPr/>
          <p:nvPr/>
        </p:nvSpPr>
        <p:spPr>
          <a:xfrm flipV="1">
            <a:off x="4013823" y="2909213"/>
            <a:ext cx="1901488" cy="859674"/>
          </a:xfrm>
          <a:custGeom>
            <a:avLst/>
            <a:gdLst>
              <a:gd name="connsiteX0" fmla="*/ 1163409 w 2312977"/>
              <a:gd name="connsiteY0" fmla="*/ 0 h 952844"/>
              <a:gd name="connsiteX1" fmla="*/ 1244592 w 2312977"/>
              <a:gd name="connsiteY1" fmla="*/ 237644 h 952844"/>
              <a:gd name="connsiteX2" fmla="*/ 1321591 w 2312977"/>
              <a:gd name="connsiteY2" fmla="*/ 241584 h 952844"/>
              <a:gd name="connsiteX3" fmla="*/ 2312977 w 2312977"/>
              <a:gd name="connsiteY3" fmla="*/ 809964 h 952844"/>
              <a:gd name="connsiteX4" fmla="*/ 2142794 w 2312977"/>
              <a:gd name="connsiteY4" fmla="*/ 936738 h 952844"/>
              <a:gd name="connsiteX5" fmla="*/ 1153428 w 2312977"/>
              <a:gd name="connsiteY5" fmla="*/ 445095 h 952844"/>
              <a:gd name="connsiteX6" fmla="*/ 172230 w 2312977"/>
              <a:gd name="connsiteY6" fmla="*/ 952844 h 952844"/>
              <a:gd name="connsiteX7" fmla="*/ 0 w 2312977"/>
              <a:gd name="connsiteY7" fmla="*/ 828868 h 952844"/>
              <a:gd name="connsiteX8" fmla="*/ 981964 w 2312977"/>
              <a:gd name="connsiteY8" fmla="*/ 244360 h 952844"/>
              <a:gd name="connsiteX9" fmla="*/ 1082247 w 2312977"/>
              <a:gd name="connsiteY9" fmla="*/ 237584 h 95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2977" h="952844">
                <a:moveTo>
                  <a:pt x="1163409" y="0"/>
                </a:moveTo>
                <a:lnTo>
                  <a:pt x="1244592" y="237644"/>
                </a:lnTo>
                <a:lnTo>
                  <a:pt x="1321591" y="241584"/>
                </a:lnTo>
                <a:cubicBezTo>
                  <a:pt x="1714005" y="285120"/>
                  <a:pt x="2074114" y="489313"/>
                  <a:pt x="2312977" y="809964"/>
                </a:cubicBezTo>
                <a:lnTo>
                  <a:pt x="2142794" y="936738"/>
                </a:lnTo>
                <a:cubicBezTo>
                  <a:pt x="1910220" y="624530"/>
                  <a:pt x="1542728" y="441913"/>
                  <a:pt x="1153428" y="445095"/>
                </a:cubicBezTo>
                <a:cubicBezTo>
                  <a:pt x="764128" y="448277"/>
                  <a:pt x="399670" y="636876"/>
                  <a:pt x="172230" y="952844"/>
                </a:cubicBezTo>
                <a:lnTo>
                  <a:pt x="0" y="828868"/>
                </a:lnTo>
                <a:cubicBezTo>
                  <a:pt x="233591" y="504355"/>
                  <a:pt x="590314" y="294304"/>
                  <a:pt x="981964" y="244360"/>
                </a:cubicBezTo>
                <a:lnTo>
                  <a:pt x="1082247" y="237584"/>
                </a:lnTo>
                <a:close/>
              </a:path>
            </a:pathLst>
          </a:custGeom>
          <a:solidFill>
            <a:srgbClr val="007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Freeform: Shape 3">
            <a:extLst>
              <a:ext uri="{FF2B5EF4-FFF2-40B4-BE49-F238E27FC236}">
                <a16:creationId xmlns:a16="http://schemas.microsoft.com/office/drawing/2014/main" id="{AA4F47ED-DA11-4230-8973-0905FF78CA40}"/>
              </a:ext>
            </a:extLst>
          </p:cNvPr>
          <p:cNvSpPr/>
          <p:nvPr/>
        </p:nvSpPr>
        <p:spPr>
          <a:xfrm rot="10800000" flipV="1">
            <a:off x="2221054" y="2130057"/>
            <a:ext cx="1901488" cy="859674"/>
          </a:xfrm>
          <a:custGeom>
            <a:avLst/>
            <a:gdLst>
              <a:gd name="connsiteX0" fmla="*/ 1163409 w 2312977"/>
              <a:gd name="connsiteY0" fmla="*/ 0 h 952844"/>
              <a:gd name="connsiteX1" fmla="*/ 1244592 w 2312977"/>
              <a:gd name="connsiteY1" fmla="*/ 237644 h 952844"/>
              <a:gd name="connsiteX2" fmla="*/ 1321591 w 2312977"/>
              <a:gd name="connsiteY2" fmla="*/ 241584 h 952844"/>
              <a:gd name="connsiteX3" fmla="*/ 2312977 w 2312977"/>
              <a:gd name="connsiteY3" fmla="*/ 809964 h 952844"/>
              <a:gd name="connsiteX4" fmla="*/ 2142794 w 2312977"/>
              <a:gd name="connsiteY4" fmla="*/ 936738 h 952844"/>
              <a:gd name="connsiteX5" fmla="*/ 1153428 w 2312977"/>
              <a:gd name="connsiteY5" fmla="*/ 445095 h 952844"/>
              <a:gd name="connsiteX6" fmla="*/ 172230 w 2312977"/>
              <a:gd name="connsiteY6" fmla="*/ 952844 h 952844"/>
              <a:gd name="connsiteX7" fmla="*/ 0 w 2312977"/>
              <a:gd name="connsiteY7" fmla="*/ 828868 h 952844"/>
              <a:gd name="connsiteX8" fmla="*/ 981964 w 2312977"/>
              <a:gd name="connsiteY8" fmla="*/ 244360 h 952844"/>
              <a:gd name="connsiteX9" fmla="*/ 1082247 w 2312977"/>
              <a:gd name="connsiteY9" fmla="*/ 237584 h 95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2977" h="952844">
                <a:moveTo>
                  <a:pt x="1163409" y="0"/>
                </a:moveTo>
                <a:lnTo>
                  <a:pt x="1244592" y="237644"/>
                </a:lnTo>
                <a:lnTo>
                  <a:pt x="1321591" y="241584"/>
                </a:lnTo>
                <a:cubicBezTo>
                  <a:pt x="1714005" y="285120"/>
                  <a:pt x="2074114" y="489313"/>
                  <a:pt x="2312977" y="809964"/>
                </a:cubicBezTo>
                <a:lnTo>
                  <a:pt x="2142794" y="936738"/>
                </a:lnTo>
                <a:cubicBezTo>
                  <a:pt x="1910220" y="624530"/>
                  <a:pt x="1542728" y="441913"/>
                  <a:pt x="1153428" y="445095"/>
                </a:cubicBezTo>
                <a:cubicBezTo>
                  <a:pt x="764128" y="448277"/>
                  <a:pt x="399670" y="636876"/>
                  <a:pt x="172230" y="952844"/>
                </a:cubicBezTo>
                <a:lnTo>
                  <a:pt x="0" y="828868"/>
                </a:lnTo>
                <a:cubicBezTo>
                  <a:pt x="233591" y="504355"/>
                  <a:pt x="590314" y="294304"/>
                  <a:pt x="981964" y="244360"/>
                </a:cubicBezTo>
                <a:lnTo>
                  <a:pt x="1082247" y="237584"/>
                </a:lnTo>
                <a:close/>
              </a:path>
            </a:pathLst>
          </a:custGeom>
          <a:solidFill>
            <a:srgbClr val="0355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Freeform: Shape 4">
            <a:extLst>
              <a:ext uri="{FF2B5EF4-FFF2-40B4-BE49-F238E27FC236}">
                <a16:creationId xmlns:a16="http://schemas.microsoft.com/office/drawing/2014/main" id="{85ADFA8B-953A-45B7-81B3-B1A9418B29E1}"/>
              </a:ext>
            </a:extLst>
          </p:cNvPr>
          <p:cNvSpPr/>
          <p:nvPr/>
        </p:nvSpPr>
        <p:spPr>
          <a:xfrm flipV="1">
            <a:off x="428286" y="2909213"/>
            <a:ext cx="1901488" cy="859674"/>
          </a:xfrm>
          <a:custGeom>
            <a:avLst/>
            <a:gdLst>
              <a:gd name="connsiteX0" fmla="*/ 1163409 w 2312977"/>
              <a:gd name="connsiteY0" fmla="*/ 0 h 952844"/>
              <a:gd name="connsiteX1" fmla="*/ 1244592 w 2312977"/>
              <a:gd name="connsiteY1" fmla="*/ 237644 h 952844"/>
              <a:gd name="connsiteX2" fmla="*/ 1321591 w 2312977"/>
              <a:gd name="connsiteY2" fmla="*/ 241584 h 952844"/>
              <a:gd name="connsiteX3" fmla="*/ 2312977 w 2312977"/>
              <a:gd name="connsiteY3" fmla="*/ 809964 h 952844"/>
              <a:gd name="connsiteX4" fmla="*/ 2142794 w 2312977"/>
              <a:gd name="connsiteY4" fmla="*/ 936738 h 952844"/>
              <a:gd name="connsiteX5" fmla="*/ 1153428 w 2312977"/>
              <a:gd name="connsiteY5" fmla="*/ 445095 h 952844"/>
              <a:gd name="connsiteX6" fmla="*/ 172230 w 2312977"/>
              <a:gd name="connsiteY6" fmla="*/ 952844 h 952844"/>
              <a:gd name="connsiteX7" fmla="*/ 0 w 2312977"/>
              <a:gd name="connsiteY7" fmla="*/ 828868 h 952844"/>
              <a:gd name="connsiteX8" fmla="*/ 981964 w 2312977"/>
              <a:gd name="connsiteY8" fmla="*/ 244360 h 952844"/>
              <a:gd name="connsiteX9" fmla="*/ 1082247 w 2312977"/>
              <a:gd name="connsiteY9" fmla="*/ 237584 h 95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2977" h="952844">
                <a:moveTo>
                  <a:pt x="1163409" y="0"/>
                </a:moveTo>
                <a:lnTo>
                  <a:pt x="1244592" y="237644"/>
                </a:lnTo>
                <a:lnTo>
                  <a:pt x="1321591" y="241584"/>
                </a:lnTo>
                <a:cubicBezTo>
                  <a:pt x="1714005" y="285120"/>
                  <a:pt x="2074114" y="489313"/>
                  <a:pt x="2312977" y="809964"/>
                </a:cubicBezTo>
                <a:lnTo>
                  <a:pt x="2142794" y="936738"/>
                </a:lnTo>
                <a:cubicBezTo>
                  <a:pt x="1910220" y="624530"/>
                  <a:pt x="1542728" y="441913"/>
                  <a:pt x="1153428" y="445095"/>
                </a:cubicBezTo>
                <a:cubicBezTo>
                  <a:pt x="764128" y="448277"/>
                  <a:pt x="399670" y="636876"/>
                  <a:pt x="172230" y="952844"/>
                </a:cubicBezTo>
                <a:lnTo>
                  <a:pt x="0" y="828868"/>
                </a:lnTo>
                <a:cubicBezTo>
                  <a:pt x="233591" y="504355"/>
                  <a:pt x="590314" y="294304"/>
                  <a:pt x="981964" y="244360"/>
                </a:cubicBezTo>
                <a:lnTo>
                  <a:pt x="1082247" y="237584"/>
                </a:lnTo>
                <a:close/>
              </a:path>
            </a:pathLst>
          </a:custGeom>
          <a:solidFill>
            <a:srgbClr val="1993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Freeform: Shape 5">
            <a:extLst>
              <a:ext uri="{FF2B5EF4-FFF2-40B4-BE49-F238E27FC236}">
                <a16:creationId xmlns:a16="http://schemas.microsoft.com/office/drawing/2014/main" id="{935289EE-057B-4AB8-B4B8-5CA89DC5F4A3}"/>
              </a:ext>
            </a:extLst>
          </p:cNvPr>
          <p:cNvSpPr/>
          <p:nvPr/>
        </p:nvSpPr>
        <p:spPr>
          <a:xfrm flipV="1">
            <a:off x="7591197" y="2909213"/>
            <a:ext cx="1901488" cy="859674"/>
          </a:xfrm>
          <a:custGeom>
            <a:avLst/>
            <a:gdLst>
              <a:gd name="connsiteX0" fmla="*/ 1163409 w 2312977"/>
              <a:gd name="connsiteY0" fmla="*/ 0 h 952844"/>
              <a:gd name="connsiteX1" fmla="*/ 1244592 w 2312977"/>
              <a:gd name="connsiteY1" fmla="*/ 237644 h 952844"/>
              <a:gd name="connsiteX2" fmla="*/ 1321591 w 2312977"/>
              <a:gd name="connsiteY2" fmla="*/ 241584 h 952844"/>
              <a:gd name="connsiteX3" fmla="*/ 2312977 w 2312977"/>
              <a:gd name="connsiteY3" fmla="*/ 809964 h 952844"/>
              <a:gd name="connsiteX4" fmla="*/ 2142794 w 2312977"/>
              <a:gd name="connsiteY4" fmla="*/ 936738 h 952844"/>
              <a:gd name="connsiteX5" fmla="*/ 1153428 w 2312977"/>
              <a:gd name="connsiteY5" fmla="*/ 445095 h 952844"/>
              <a:gd name="connsiteX6" fmla="*/ 172230 w 2312977"/>
              <a:gd name="connsiteY6" fmla="*/ 952844 h 952844"/>
              <a:gd name="connsiteX7" fmla="*/ 0 w 2312977"/>
              <a:gd name="connsiteY7" fmla="*/ 828868 h 952844"/>
              <a:gd name="connsiteX8" fmla="*/ 981964 w 2312977"/>
              <a:gd name="connsiteY8" fmla="*/ 244360 h 952844"/>
              <a:gd name="connsiteX9" fmla="*/ 1082247 w 2312977"/>
              <a:gd name="connsiteY9" fmla="*/ 237584 h 95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2977" h="952844">
                <a:moveTo>
                  <a:pt x="1163409" y="0"/>
                </a:moveTo>
                <a:lnTo>
                  <a:pt x="1244592" y="237644"/>
                </a:lnTo>
                <a:lnTo>
                  <a:pt x="1321591" y="241584"/>
                </a:lnTo>
                <a:cubicBezTo>
                  <a:pt x="1714005" y="285120"/>
                  <a:pt x="2074114" y="489313"/>
                  <a:pt x="2312977" y="809964"/>
                </a:cubicBezTo>
                <a:lnTo>
                  <a:pt x="2142794" y="936738"/>
                </a:lnTo>
                <a:cubicBezTo>
                  <a:pt x="1910220" y="624530"/>
                  <a:pt x="1542728" y="441913"/>
                  <a:pt x="1153428" y="445095"/>
                </a:cubicBezTo>
                <a:cubicBezTo>
                  <a:pt x="764128" y="448277"/>
                  <a:pt x="399670" y="636876"/>
                  <a:pt x="172230" y="952844"/>
                </a:cubicBezTo>
                <a:lnTo>
                  <a:pt x="0" y="828868"/>
                </a:lnTo>
                <a:cubicBezTo>
                  <a:pt x="233591" y="504355"/>
                  <a:pt x="590314" y="294304"/>
                  <a:pt x="981964" y="244360"/>
                </a:cubicBezTo>
                <a:lnTo>
                  <a:pt x="1082247" y="237584"/>
                </a:lnTo>
                <a:close/>
              </a:path>
            </a:pathLst>
          </a:custGeom>
          <a:solidFill>
            <a:srgbClr val="07A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Freeform: Shape 6">
            <a:extLst>
              <a:ext uri="{FF2B5EF4-FFF2-40B4-BE49-F238E27FC236}">
                <a16:creationId xmlns:a16="http://schemas.microsoft.com/office/drawing/2014/main" id="{382920C2-9A42-4FA1-B590-F19EAE3AF886}"/>
              </a:ext>
            </a:extLst>
          </p:cNvPr>
          <p:cNvSpPr/>
          <p:nvPr/>
        </p:nvSpPr>
        <p:spPr>
          <a:xfrm rot="10800000" flipV="1">
            <a:off x="5806591" y="2130058"/>
            <a:ext cx="1901488" cy="859674"/>
          </a:xfrm>
          <a:custGeom>
            <a:avLst/>
            <a:gdLst>
              <a:gd name="connsiteX0" fmla="*/ 1163409 w 2312977"/>
              <a:gd name="connsiteY0" fmla="*/ 0 h 952844"/>
              <a:gd name="connsiteX1" fmla="*/ 1244592 w 2312977"/>
              <a:gd name="connsiteY1" fmla="*/ 237644 h 952844"/>
              <a:gd name="connsiteX2" fmla="*/ 1321591 w 2312977"/>
              <a:gd name="connsiteY2" fmla="*/ 241584 h 952844"/>
              <a:gd name="connsiteX3" fmla="*/ 2312977 w 2312977"/>
              <a:gd name="connsiteY3" fmla="*/ 809964 h 952844"/>
              <a:gd name="connsiteX4" fmla="*/ 2142794 w 2312977"/>
              <a:gd name="connsiteY4" fmla="*/ 936738 h 952844"/>
              <a:gd name="connsiteX5" fmla="*/ 1153428 w 2312977"/>
              <a:gd name="connsiteY5" fmla="*/ 445095 h 952844"/>
              <a:gd name="connsiteX6" fmla="*/ 172230 w 2312977"/>
              <a:gd name="connsiteY6" fmla="*/ 952844 h 952844"/>
              <a:gd name="connsiteX7" fmla="*/ 0 w 2312977"/>
              <a:gd name="connsiteY7" fmla="*/ 828868 h 952844"/>
              <a:gd name="connsiteX8" fmla="*/ 981964 w 2312977"/>
              <a:gd name="connsiteY8" fmla="*/ 244360 h 952844"/>
              <a:gd name="connsiteX9" fmla="*/ 1082247 w 2312977"/>
              <a:gd name="connsiteY9" fmla="*/ 237584 h 95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2977" h="952844">
                <a:moveTo>
                  <a:pt x="1163409" y="0"/>
                </a:moveTo>
                <a:lnTo>
                  <a:pt x="1244592" y="237644"/>
                </a:lnTo>
                <a:lnTo>
                  <a:pt x="1321591" y="241584"/>
                </a:lnTo>
                <a:cubicBezTo>
                  <a:pt x="1714005" y="285120"/>
                  <a:pt x="2074114" y="489313"/>
                  <a:pt x="2312977" y="809964"/>
                </a:cubicBezTo>
                <a:lnTo>
                  <a:pt x="2142794" y="936738"/>
                </a:lnTo>
                <a:cubicBezTo>
                  <a:pt x="1910220" y="624530"/>
                  <a:pt x="1542728" y="441913"/>
                  <a:pt x="1153428" y="445095"/>
                </a:cubicBezTo>
                <a:cubicBezTo>
                  <a:pt x="764128" y="448277"/>
                  <a:pt x="399670" y="636876"/>
                  <a:pt x="172230" y="952844"/>
                </a:cubicBezTo>
                <a:lnTo>
                  <a:pt x="0" y="828868"/>
                </a:lnTo>
                <a:cubicBezTo>
                  <a:pt x="233591" y="504355"/>
                  <a:pt x="590314" y="294304"/>
                  <a:pt x="981964" y="244360"/>
                </a:cubicBezTo>
                <a:lnTo>
                  <a:pt x="1082247" y="237584"/>
                </a:lnTo>
                <a:close/>
              </a:path>
            </a:pathLst>
          </a:custGeom>
          <a:solidFill>
            <a:srgbClr val="003F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Hexagon 8">
            <a:extLst>
              <a:ext uri="{FF2B5EF4-FFF2-40B4-BE49-F238E27FC236}">
                <a16:creationId xmlns:a16="http://schemas.microsoft.com/office/drawing/2014/main" id="{2E731336-B52B-4F05-BD74-9AF98FB8C9BD}"/>
              </a:ext>
            </a:extLst>
          </p:cNvPr>
          <p:cNvSpPr/>
          <p:nvPr/>
        </p:nvSpPr>
        <p:spPr bwMode="auto">
          <a:xfrm>
            <a:off x="4038600" y="3979352"/>
            <a:ext cx="1828800" cy="548640"/>
          </a:xfrm>
          <a:prstGeom prst="hexagon">
            <a:avLst>
              <a:gd name="adj" fmla="val 29670"/>
              <a:gd name="vf" fmla="val 115470"/>
            </a:avLst>
          </a:prstGeom>
          <a:solidFill>
            <a:srgbClr val="0079AE"/>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 name="Hexagon 9">
            <a:extLst>
              <a:ext uri="{FF2B5EF4-FFF2-40B4-BE49-F238E27FC236}">
                <a16:creationId xmlns:a16="http://schemas.microsoft.com/office/drawing/2014/main" id="{46F93689-5037-4C90-BBAA-EF3DABE8F47B}"/>
              </a:ext>
            </a:extLst>
          </p:cNvPr>
          <p:cNvSpPr/>
          <p:nvPr/>
        </p:nvSpPr>
        <p:spPr bwMode="auto">
          <a:xfrm>
            <a:off x="4038600" y="4858606"/>
            <a:ext cx="1828800" cy="548640"/>
          </a:xfrm>
          <a:prstGeom prst="hexagon">
            <a:avLst>
              <a:gd name="adj" fmla="val 29670"/>
              <a:gd name="vf" fmla="val 115470"/>
            </a:avLst>
          </a:prstGeom>
          <a:solidFill>
            <a:srgbClr val="0079AE"/>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1" name="Hexagon 10">
            <a:extLst>
              <a:ext uri="{FF2B5EF4-FFF2-40B4-BE49-F238E27FC236}">
                <a16:creationId xmlns:a16="http://schemas.microsoft.com/office/drawing/2014/main" id="{3FDAE395-8B81-42FC-9357-56223F5D5006}"/>
              </a:ext>
            </a:extLst>
          </p:cNvPr>
          <p:cNvSpPr/>
          <p:nvPr/>
        </p:nvSpPr>
        <p:spPr bwMode="auto">
          <a:xfrm>
            <a:off x="4038600" y="5739765"/>
            <a:ext cx="1828800" cy="548640"/>
          </a:xfrm>
          <a:prstGeom prst="hexagon">
            <a:avLst>
              <a:gd name="adj" fmla="val 29670"/>
              <a:gd name="vf" fmla="val 115470"/>
            </a:avLst>
          </a:prstGeom>
          <a:solidFill>
            <a:srgbClr val="0079AE"/>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2" name="Hexagon 11">
            <a:extLst>
              <a:ext uri="{FF2B5EF4-FFF2-40B4-BE49-F238E27FC236}">
                <a16:creationId xmlns:a16="http://schemas.microsoft.com/office/drawing/2014/main" id="{B1E13082-95D5-4565-B4FD-C8EBD1D522B3}"/>
              </a:ext>
            </a:extLst>
          </p:cNvPr>
          <p:cNvSpPr/>
          <p:nvPr/>
        </p:nvSpPr>
        <p:spPr bwMode="auto">
          <a:xfrm>
            <a:off x="5744654" y="1195508"/>
            <a:ext cx="2011680" cy="640080"/>
          </a:xfrm>
          <a:prstGeom prst="hexagon">
            <a:avLst>
              <a:gd name="adj" fmla="val 29670"/>
              <a:gd name="vf" fmla="val 115470"/>
            </a:avLst>
          </a:prstGeom>
          <a:solidFill>
            <a:srgbClr val="003F62"/>
          </a:solidFill>
          <a:ln w="12700">
            <a:noFill/>
            <a:round/>
            <a:headEnd/>
            <a:tailEnd/>
          </a:ln>
        </p:spPr>
        <p:txBody>
          <a:bodyPr wrap="square" lIns="0" tIns="0" rIns="0" bIns="0" rtlCol="0" anchor="ctr">
            <a:noAutofit/>
          </a:bodyPr>
          <a:lstStyle/>
          <a:p>
            <a:pPr algn="l"/>
            <a:r>
              <a:rPr lang="en-US" dirty="0">
                <a:solidFill>
                  <a:schemeClr val="tx2"/>
                </a:solidFill>
              </a:rPr>
              <a:t> </a:t>
            </a:r>
            <a:endParaRPr lang="en-IN" dirty="0">
              <a:solidFill>
                <a:schemeClr val="tx2"/>
              </a:solidFill>
            </a:endParaRPr>
          </a:p>
        </p:txBody>
      </p:sp>
      <p:sp>
        <p:nvSpPr>
          <p:cNvPr id="13" name="Hexagon 12">
            <a:extLst>
              <a:ext uri="{FF2B5EF4-FFF2-40B4-BE49-F238E27FC236}">
                <a16:creationId xmlns:a16="http://schemas.microsoft.com/office/drawing/2014/main" id="{B760564C-39E4-4E0E-B0BA-B738E61149C6}"/>
              </a:ext>
            </a:extLst>
          </p:cNvPr>
          <p:cNvSpPr/>
          <p:nvPr/>
        </p:nvSpPr>
        <p:spPr bwMode="auto">
          <a:xfrm>
            <a:off x="7663529" y="4093226"/>
            <a:ext cx="1828800" cy="548640"/>
          </a:xfrm>
          <a:prstGeom prst="hexagon">
            <a:avLst>
              <a:gd name="adj" fmla="val 29670"/>
              <a:gd name="vf" fmla="val 115470"/>
            </a:avLst>
          </a:prstGeom>
          <a:solidFill>
            <a:srgbClr val="07AAD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4" name="Hexagon 13">
            <a:extLst>
              <a:ext uri="{FF2B5EF4-FFF2-40B4-BE49-F238E27FC236}">
                <a16:creationId xmlns:a16="http://schemas.microsoft.com/office/drawing/2014/main" id="{55066B8F-8EBA-4845-A4AD-DEE9DC83152F}"/>
              </a:ext>
            </a:extLst>
          </p:cNvPr>
          <p:cNvSpPr/>
          <p:nvPr/>
        </p:nvSpPr>
        <p:spPr bwMode="auto">
          <a:xfrm>
            <a:off x="7662916" y="5060645"/>
            <a:ext cx="1828800" cy="548640"/>
          </a:xfrm>
          <a:prstGeom prst="hexagon">
            <a:avLst>
              <a:gd name="adj" fmla="val 29670"/>
              <a:gd name="vf" fmla="val 115470"/>
            </a:avLst>
          </a:prstGeom>
          <a:solidFill>
            <a:srgbClr val="07AADB"/>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5" name="Hexagon 14">
            <a:extLst>
              <a:ext uri="{FF2B5EF4-FFF2-40B4-BE49-F238E27FC236}">
                <a16:creationId xmlns:a16="http://schemas.microsoft.com/office/drawing/2014/main" id="{4F4E9A27-276C-4270-872A-8053FC0AA1C1}"/>
              </a:ext>
            </a:extLst>
          </p:cNvPr>
          <p:cNvSpPr/>
          <p:nvPr/>
        </p:nvSpPr>
        <p:spPr bwMode="auto">
          <a:xfrm>
            <a:off x="2149356" y="1194467"/>
            <a:ext cx="2011680" cy="640080"/>
          </a:xfrm>
          <a:prstGeom prst="hexagon">
            <a:avLst>
              <a:gd name="adj" fmla="val 29670"/>
              <a:gd name="vf" fmla="val 115470"/>
            </a:avLst>
          </a:prstGeom>
          <a:solidFill>
            <a:srgbClr val="03556D"/>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6" name="Hexagon 15">
            <a:extLst>
              <a:ext uri="{FF2B5EF4-FFF2-40B4-BE49-F238E27FC236}">
                <a16:creationId xmlns:a16="http://schemas.microsoft.com/office/drawing/2014/main" id="{49FAE36B-1609-420C-8876-41E9D4F0EB9F}"/>
              </a:ext>
            </a:extLst>
          </p:cNvPr>
          <p:cNvSpPr/>
          <p:nvPr/>
        </p:nvSpPr>
        <p:spPr bwMode="auto">
          <a:xfrm>
            <a:off x="503449" y="4132047"/>
            <a:ext cx="1828800" cy="548640"/>
          </a:xfrm>
          <a:prstGeom prst="hexagon">
            <a:avLst>
              <a:gd name="adj" fmla="val 29670"/>
              <a:gd name="vf" fmla="val 115470"/>
            </a:avLst>
          </a:prstGeom>
          <a:solidFill>
            <a:srgbClr val="1993CB"/>
          </a:solidFill>
          <a:ln w="12700">
            <a:noFill/>
            <a:round/>
            <a:headEnd/>
            <a:tailEnd/>
          </a:ln>
        </p:spPr>
        <p:txBody>
          <a:bodyPr wrap="square" lIns="0" tIns="0" rIns="0" bIns="0" rtlCol="0" anchor="ctr">
            <a:noAutofit/>
          </a:bodyPr>
          <a:lstStyle/>
          <a:p>
            <a:pPr algn="l"/>
            <a:r>
              <a:rPr lang="en-US" dirty="0">
                <a:solidFill>
                  <a:schemeClr val="tx2"/>
                </a:solidFill>
              </a:rPr>
              <a:t> </a:t>
            </a:r>
            <a:endParaRPr lang="en-IN" dirty="0">
              <a:solidFill>
                <a:schemeClr val="tx2"/>
              </a:solidFill>
            </a:endParaRPr>
          </a:p>
        </p:txBody>
      </p:sp>
      <p:sp>
        <p:nvSpPr>
          <p:cNvPr id="17" name="TextBox 16">
            <a:extLst>
              <a:ext uri="{FF2B5EF4-FFF2-40B4-BE49-F238E27FC236}">
                <a16:creationId xmlns:a16="http://schemas.microsoft.com/office/drawing/2014/main" id="{3FB3A181-A8A2-4C03-8030-0176CA4287DB}"/>
              </a:ext>
            </a:extLst>
          </p:cNvPr>
          <p:cNvSpPr txBox="1"/>
          <p:nvPr/>
        </p:nvSpPr>
        <p:spPr>
          <a:xfrm>
            <a:off x="726723" y="2705745"/>
            <a:ext cx="1371600" cy="548640"/>
          </a:xfrm>
          <a:prstGeom prst="rect">
            <a:avLst/>
          </a:prstGeom>
          <a:noFill/>
        </p:spPr>
        <p:txBody>
          <a:bodyPr wrap="square" lIns="182880" tIns="182880" rIns="182880" bIns="182880" rtlCol="0">
            <a:noAutofit/>
          </a:bodyPr>
          <a:lstStyle/>
          <a:p>
            <a:r>
              <a:rPr lang="en-IN" dirty="0">
                <a:latin typeface="+mn-lt"/>
              </a:rPr>
              <a:t>Stage</a:t>
            </a:r>
          </a:p>
          <a:p>
            <a:endParaRPr lang="en-IN" dirty="0">
              <a:latin typeface="+mn-lt"/>
            </a:endParaRPr>
          </a:p>
        </p:txBody>
      </p:sp>
      <p:sp>
        <p:nvSpPr>
          <p:cNvPr id="18" name="TextBox 17">
            <a:extLst>
              <a:ext uri="{FF2B5EF4-FFF2-40B4-BE49-F238E27FC236}">
                <a16:creationId xmlns:a16="http://schemas.microsoft.com/office/drawing/2014/main" id="{806E17D9-A7D0-4D95-A315-8B0E176599B4}"/>
              </a:ext>
            </a:extLst>
          </p:cNvPr>
          <p:cNvSpPr txBox="1"/>
          <p:nvPr/>
        </p:nvSpPr>
        <p:spPr>
          <a:xfrm>
            <a:off x="2519493" y="2682909"/>
            <a:ext cx="1371600" cy="548640"/>
          </a:xfrm>
          <a:prstGeom prst="rect">
            <a:avLst/>
          </a:prstGeom>
          <a:noFill/>
        </p:spPr>
        <p:txBody>
          <a:bodyPr wrap="square" lIns="182880" tIns="182880" rIns="182880" bIns="182880" rtlCol="0">
            <a:noAutofit/>
          </a:bodyPr>
          <a:lstStyle/>
          <a:p>
            <a:r>
              <a:rPr lang="en-IN" dirty="0">
                <a:latin typeface="+mn-lt"/>
              </a:rPr>
              <a:t>Awareness</a:t>
            </a:r>
          </a:p>
          <a:p>
            <a:endParaRPr lang="en-IN" dirty="0">
              <a:latin typeface="+mn-lt"/>
            </a:endParaRPr>
          </a:p>
        </p:txBody>
      </p:sp>
      <p:sp>
        <p:nvSpPr>
          <p:cNvPr id="19" name="TextBox 18">
            <a:extLst>
              <a:ext uri="{FF2B5EF4-FFF2-40B4-BE49-F238E27FC236}">
                <a16:creationId xmlns:a16="http://schemas.microsoft.com/office/drawing/2014/main" id="{F559E0A6-910F-453F-8634-8F31659FF0AD}"/>
              </a:ext>
            </a:extLst>
          </p:cNvPr>
          <p:cNvSpPr txBox="1"/>
          <p:nvPr/>
        </p:nvSpPr>
        <p:spPr>
          <a:xfrm>
            <a:off x="4230710" y="2707689"/>
            <a:ext cx="1514516" cy="548640"/>
          </a:xfrm>
          <a:prstGeom prst="rect">
            <a:avLst/>
          </a:prstGeom>
          <a:noFill/>
        </p:spPr>
        <p:txBody>
          <a:bodyPr wrap="square" lIns="182880" tIns="182880" rIns="182880" bIns="182880" rtlCol="0">
            <a:noAutofit/>
          </a:bodyPr>
          <a:lstStyle/>
          <a:p>
            <a:r>
              <a:rPr lang="en-IN" dirty="0">
                <a:latin typeface="+mn-lt"/>
              </a:rPr>
              <a:t>Consideration</a:t>
            </a:r>
          </a:p>
          <a:p>
            <a:endParaRPr lang="en-IN" dirty="0">
              <a:latin typeface="+mn-lt"/>
            </a:endParaRPr>
          </a:p>
        </p:txBody>
      </p:sp>
      <p:sp>
        <p:nvSpPr>
          <p:cNvPr id="20" name="TextBox 19">
            <a:extLst>
              <a:ext uri="{FF2B5EF4-FFF2-40B4-BE49-F238E27FC236}">
                <a16:creationId xmlns:a16="http://schemas.microsoft.com/office/drawing/2014/main" id="{3851D3F5-3CE5-41DD-A3F6-B73B58F0A087}"/>
              </a:ext>
            </a:extLst>
          </p:cNvPr>
          <p:cNvSpPr txBox="1"/>
          <p:nvPr/>
        </p:nvSpPr>
        <p:spPr>
          <a:xfrm>
            <a:off x="6071536" y="2705745"/>
            <a:ext cx="1371600" cy="548640"/>
          </a:xfrm>
          <a:prstGeom prst="rect">
            <a:avLst/>
          </a:prstGeom>
          <a:noFill/>
        </p:spPr>
        <p:txBody>
          <a:bodyPr wrap="square" lIns="182880" tIns="182880" rIns="182880" bIns="182880" rtlCol="0">
            <a:noAutofit/>
          </a:bodyPr>
          <a:lstStyle/>
          <a:p>
            <a:r>
              <a:rPr lang="en-IN" dirty="0">
                <a:latin typeface="+mn-lt"/>
              </a:rPr>
              <a:t>Decision</a:t>
            </a:r>
          </a:p>
          <a:p>
            <a:endParaRPr lang="en-IN" dirty="0">
              <a:latin typeface="+mn-lt"/>
            </a:endParaRPr>
          </a:p>
        </p:txBody>
      </p:sp>
      <p:sp>
        <p:nvSpPr>
          <p:cNvPr id="21" name="TextBox 20">
            <a:extLst>
              <a:ext uri="{FF2B5EF4-FFF2-40B4-BE49-F238E27FC236}">
                <a16:creationId xmlns:a16="http://schemas.microsoft.com/office/drawing/2014/main" id="{AE97DB6C-5B17-47A9-AF2F-73596310E0C4}"/>
              </a:ext>
            </a:extLst>
          </p:cNvPr>
          <p:cNvSpPr txBox="1"/>
          <p:nvPr/>
        </p:nvSpPr>
        <p:spPr>
          <a:xfrm>
            <a:off x="7864303" y="2746013"/>
            <a:ext cx="1371600" cy="548640"/>
          </a:xfrm>
          <a:prstGeom prst="rect">
            <a:avLst/>
          </a:prstGeom>
          <a:noFill/>
        </p:spPr>
        <p:txBody>
          <a:bodyPr wrap="square" lIns="182880" tIns="182880" rIns="182880" bIns="182880" rtlCol="0">
            <a:noAutofit/>
          </a:bodyPr>
          <a:lstStyle/>
          <a:p>
            <a:r>
              <a:rPr lang="en-IN" dirty="0">
                <a:latin typeface="+mn-lt"/>
              </a:rPr>
              <a:t>Delight</a:t>
            </a:r>
          </a:p>
          <a:p>
            <a:endParaRPr lang="en-IN" dirty="0">
              <a:latin typeface="+mn-lt"/>
            </a:endParaRPr>
          </a:p>
        </p:txBody>
      </p:sp>
      <p:sp>
        <p:nvSpPr>
          <p:cNvPr id="23" name="TextBox 22">
            <a:extLst>
              <a:ext uri="{FF2B5EF4-FFF2-40B4-BE49-F238E27FC236}">
                <a16:creationId xmlns:a16="http://schemas.microsoft.com/office/drawing/2014/main" id="{8112F630-9013-47F6-9D4A-416ECA7E10C8}"/>
              </a:ext>
            </a:extLst>
          </p:cNvPr>
          <p:cNvSpPr txBox="1"/>
          <p:nvPr/>
        </p:nvSpPr>
        <p:spPr>
          <a:xfrm>
            <a:off x="683816" y="4132047"/>
            <a:ext cx="1371600" cy="548640"/>
          </a:xfrm>
          <a:prstGeom prst="rect">
            <a:avLst/>
          </a:prstGeom>
          <a:noFill/>
        </p:spPr>
        <p:txBody>
          <a:bodyPr wrap="square" lIns="182880" tIns="182880" rIns="182880" bIns="182880" rtlCol="0">
            <a:noAutofit/>
          </a:bodyPr>
          <a:lstStyle/>
          <a:p>
            <a:pPr marL="0" indent="0">
              <a:buNone/>
            </a:pPr>
            <a:r>
              <a:rPr lang="en-IN" b="1" dirty="0">
                <a:solidFill>
                  <a:schemeClr val="bg1"/>
                </a:solidFill>
                <a:latin typeface="+mn-lt"/>
              </a:rPr>
              <a:t>Touchpoints</a:t>
            </a:r>
          </a:p>
          <a:p>
            <a:endParaRPr lang="en-IN" b="1" dirty="0">
              <a:latin typeface="+mn-lt"/>
            </a:endParaRPr>
          </a:p>
          <a:p>
            <a:endParaRPr lang="en-IN" b="1" dirty="0">
              <a:latin typeface="+mn-lt"/>
            </a:endParaRPr>
          </a:p>
        </p:txBody>
      </p:sp>
      <p:sp>
        <p:nvSpPr>
          <p:cNvPr id="24" name="TextBox 23">
            <a:extLst>
              <a:ext uri="{FF2B5EF4-FFF2-40B4-BE49-F238E27FC236}">
                <a16:creationId xmlns:a16="http://schemas.microsoft.com/office/drawing/2014/main" id="{E4364024-6ABD-4635-A1B3-B8A25D336A29}"/>
              </a:ext>
            </a:extLst>
          </p:cNvPr>
          <p:cNvSpPr txBox="1"/>
          <p:nvPr/>
        </p:nvSpPr>
        <p:spPr>
          <a:xfrm>
            <a:off x="2462864" y="1219630"/>
            <a:ext cx="1371600" cy="548640"/>
          </a:xfrm>
          <a:prstGeom prst="rect">
            <a:avLst/>
          </a:prstGeom>
          <a:noFill/>
        </p:spPr>
        <p:txBody>
          <a:bodyPr wrap="square" lIns="182880" tIns="182880" rIns="182880" bIns="182880" rtlCol="0">
            <a:noAutofit/>
          </a:bodyPr>
          <a:lstStyle/>
          <a:p>
            <a:pPr marL="0" indent="0">
              <a:buNone/>
            </a:pPr>
            <a:r>
              <a:rPr lang="en-IN" b="1" dirty="0">
                <a:solidFill>
                  <a:schemeClr val="bg1"/>
                </a:solidFill>
                <a:latin typeface="+mn-lt"/>
              </a:rPr>
              <a:t>Online Ads</a:t>
            </a:r>
          </a:p>
        </p:txBody>
      </p:sp>
      <p:sp>
        <p:nvSpPr>
          <p:cNvPr id="25" name="TextBox 24">
            <a:extLst>
              <a:ext uri="{FF2B5EF4-FFF2-40B4-BE49-F238E27FC236}">
                <a16:creationId xmlns:a16="http://schemas.microsoft.com/office/drawing/2014/main" id="{1F9032A3-715A-4C6C-8E75-7EE0B5DC2648}"/>
              </a:ext>
            </a:extLst>
          </p:cNvPr>
          <p:cNvSpPr txBox="1"/>
          <p:nvPr/>
        </p:nvSpPr>
        <p:spPr>
          <a:xfrm>
            <a:off x="4289975" y="3974213"/>
            <a:ext cx="1371600" cy="548640"/>
          </a:xfrm>
          <a:prstGeom prst="rect">
            <a:avLst/>
          </a:prstGeom>
          <a:noFill/>
        </p:spPr>
        <p:txBody>
          <a:bodyPr wrap="square" lIns="182880" tIns="182880" rIns="182880" bIns="182880" rtlCol="0">
            <a:noAutofit/>
          </a:bodyPr>
          <a:lstStyle/>
          <a:p>
            <a:r>
              <a:rPr lang="en-IN" b="1" dirty="0">
                <a:solidFill>
                  <a:schemeClr val="bg1"/>
                </a:solidFill>
                <a:latin typeface="+mn-lt"/>
              </a:rPr>
              <a:t>Phone calls</a:t>
            </a:r>
          </a:p>
          <a:p>
            <a:endParaRPr lang="en-IN" b="1" dirty="0">
              <a:latin typeface="+mn-lt"/>
            </a:endParaRPr>
          </a:p>
        </p:txBody>
      </p:sp>
      <p:sp>
        <p:nvSpPr>
          <p:cNvPr id="26" name="TextBox 25">
            <a:extLst>
              <a:ext uri="{FF2B5EF4-FFF2-40B4-BE49-F238E27FC236}">
                <a16:creationId xmlns:a16="http://schemas.microsoft.com/office/drawing/2014/main" id="{01FE8C6F-F11E-4871-AD13-A9BE172A2DB9}"/>
              </a:ext>
            </a:extLst>
          </p:cNvPr>
          <p:cNvSpPr txBox="1"/>
          <p:nvPr/>
        </p:nvSpPr>
        <p:spPr>
          <a:xfrm>
            <a:off x="4206391" y="4852899"/>
            <a:ext cx="1600200" cy="548640"/>
          </a:xfrm>
          <a:prstGeom prst="rect">
            <a:avLst/>
          </a:prstGeom>
          <a:noFill/>
        </p:spPr>
        <p:txBody>
          <a:bodyPr wrap="square" lIns="182880" tIns="182880" rIns="182880" bIns="182880" rtlCol="0">
            <a:noAutofit/>
          </a:bodyPr>
          <a:lstStyle/>
          <a:p>
            <a:r>
              <a:rPr lang="en-IN" b="1" dirty="0">
                <a:solidFill>
                  <a:schemeClr val="bg1"/>
                </a:solidFill>
                <a:latin typeface="+mn-lt"/>
              </a:rPr>
              <a:t>Email enquiries</a:t>
            </a:r>
          </a:p>
          <a:p>
            <a:endParaRPr lang="en-IN" b="1" dirty="0">
              <a:latin typeface="+mn-lt"/>
            </a:endParaRPr>
          </a:p>
        </p:txBody>
      </p:sp>
      <p:sp>
        <p:nvSpPr>
          <p:cNvPr id="27" name="TextBox 26">
            <a:extLst>
              <a:ext uri="{FF2B5EF4-FFF2-40B4-BE49-F238E27FC236}">
                <a16:creationId xmlns:a16="http://schemas.microsoft.com/office/drawing/2014/main" id="{51E0681F-F1EF-4633-9D80-5D3B985B51CB}"/>
              </a:ext>
            </a:extLst>
          </p:cNvPr>
          <p:cNvSpPr txBox="1"/>
          <p:nvPr/>
        </p:nvSpPr>
        <p:spPr>
          <a:xfrm>
            <a:off x="4268944" y="5737860"/>
            <a:ext cx="1371600" cy="548640"/>
          </a:xfrm>
          <a:prstGeom prst="rect">
            <a:avLst/>
          </a:prstGeom>
          <a:noFill/>
        </p:spPr>
        <p:txBody>
          <a:bodyPr wrap="square" lIns="182880" tIns="182880" rIns="182880" bIns="182880" rtlCol="0">
            <a:noAutofit/>
          </a:bodyPr>
          <a:lstStyle/>
          <a:p>
            <a:r>
              <a:rPr lang="en-IN" b="1" dirty="0">
                <a:solidFill>
                  <a:schemeClr val="bg1"/>
                </a:solidFill>
                <a:latin typeface="+mn-lt"/>
              </a:rPr>
              <a:t>Website</a:t>
            </a:r>
          </a:p>
          <a:p>
            <a:endParaRPr lang="en-IN" b="1" dirty="0">
              <a:latin typeface="+mn-lt"/>
            </a:endParaRPr>
          </a:p>
        </p:txBody>
      </p:sp>
      <p:sp>
        <p:nvSpPr>
          <p:cNvPr id="28" name="TextBox 27">
            <a:extLst>
              <a:ext uri="{FF2B5EF4-FFF2-40B4-BE49-F238E27FC236}">
                <a16:creationId xmlns:a16="http://schemas.microsoft.com/office/drawing/2014/main" id="{03072779-AB39-4195-A9E5-5DC4F466A3DD}"/>
              </a:ext>
            </a:extLst>
          </p:cNvPr>
          <p:cNvSpPr txBox="1"/>
          <p:nvPr/>
        </p:nvSpPr>
        <p:spPr>
          <a:xfrm>
            <a:off x="6071535" y="1149392"/>
            <a:ext cx="1371600" cy="548640"/>
          </a:xfrm>
          <a:prstGeom prst="rect">
            <a:avLst/>
          </a:prstGeom>
          <a:noFill/>
        </p:spPr>
        <p:txBody>
          <a:bodyPr wrap="square" lIns="182880" tIns="182880" rIns="182880" bIns="182880" rtlCol="0">
            <a:noAutofit/>
          </a:bodyPr>
          <a:lstStyle/>
          <a:p>
            <a:pPr marL="0" indent="0">
              <a:buNone/>
            </a:pPr>
            <a:r>
              <a:rPr lang="en-IN" b="1" dirty="0">
                <a:solidFill>
                  <a:schemeClr val="bg1"/>
                </a:solidFill>
                <a:latin typeface="+mn-lt"/>
              </a:rPr>
              <a:t>Sign up for test project</a:t>
            </a:r>
          </a:p>
        </p:txBody>
      </p:sp>
      <p:sp>
        <p:nvSpPr>
          <p:cNvPr id="29" name="TextBox 28">
            <a:extLst>
              <a:ext uri="{FF2B5EF4-FFF2-40B4-BE49-F238E27FC236}">
                <a16:creationId xmlns:a16="http://schemas.microsoft.com/office/drawing/2014/main" id="{59A75363-765D-45FF-843D-CE972BAA3E0E}"/>
              </a:ext>
            </a:extLst>
          </p:cNvPr>
          <p:cNvSpPr txBox="1"/>
          <p:nvPr/>
        </p:nvSpPr>
        <p:spPr>
          <a:xfrm>
            <a:off x="7864304" y="4105390"/>
            <a:ext cx="1371600" cy="548640"/>
          </a:xfrm>
          <a:prstGeom prst="rect">
            <a:avLst/>
          </a:prstGeom>
          <a:noFill/>
        </p:spPr>
        <p:txBody>
          <a:bodyPr wrap="square" lIns="182880" tIns="182880" rIns="182880" bIns="182880" rtlCol="0">
            <a:noAutofit/>
          </a:bodyPr>
          <a:lstStyle/>
          <a:p>
            <a:r>
              <a:rPr lang="en-IN" b="1" dirty="0">
                <a:solidFill>
                  <a:schemeClr val="bg1"/>
                </a:solidFill>
                <a:latin typeface="+mn-lt"/>
              </a:rPr>
              <a:t>Referrals</a:t>
            </a:r>
          </a:p>
          <a:p>
            <a:endParaRPr lang="en-IN" b="1" dirty="0">
              <a:latin typeface="+mn-lt"/>
            </a:endParaRPr>
          </a:p>
        </p:txBody>
      </p:sp>
      <p:sp>
        <p:nvSpPr>
          <p:cNvPr id="30" name="TextBox 29">
            <a:extLst>
              <a:ext uri="{FF2B5EF4-FFF2-40B4-BE49-F238E27FC236}">
                <a16:creationId xmlns:a16="http://schemas.microsoft.com/office/drawing/2014/main" id="{52C2016E-802D-48DB-B6F1-239A86D5EC20}"/>
              </a:ext>
            </a:extLst>
          </p:cNvPr>
          <p:cNvSpPr txBox="1"/>
          <p:nvPr/>
        </p:nvSpPr>
        <p:spPr>
          <a:xfrm>
            <a:off x="7908455" y="5060645"/>
            <a:ext cx="1371600" cy="548640"/>
          </a:xfrm>
          <a:prstGeom prst="rect">
            <a:avLst/>
          </a:prstGeom>
          <a:noFill/>
        </p:spPr>
        <p:txBody>
          <a:bodyPr wrap="square" lIns="182880" tIns="182880" rIns="182880" bIns="182880" rtlCol="0">
            <a:noAutofit/>
          </a:bodyPr>
          <a:lstStyle/>
          <a:p>
            <a:r>
              <a:rPr lang="en-IN" b="1" dirty="0">
                <a:solidFill>
                  <a:schemeClr val="bg1"/>
                </a:solidFill>
                <a:latin typeface="+mn-lt"/>
              </a:rPr>
              <a:t>More users</a:t>
            </a:r>
          </a:p>
          <a:p>
            <a:endParaRPr lang="en-IN" b="1" dirty="0">
              <a:latin typeface="+mn-lt"/>
            </a:endParaRPr>
          </a:p>
        </p:txBody>
      </p:sp>
      <p:sp>
        <p:nvSpPr>
          <p:cNvPr id="2" name="Isosceles Triangle 1">
            <a:extLst>
              <a:ext uri="{FF2B5EF4-FFF2-40B4-BE49-F238E27FC236}">
                <a16:creationId xmlns:a16="http://schemas.microsoft.com/office/drawing/2014/main" id="{9F26AE6E-6BAA-4B9C-B028-9FE72039DB23}"/>
              </a:ext>
            </a:extLst>
          </p:cNvPr>
          <p:cNvSpPr/>
          <p:nvPr/>
        </p:nvSpPr>
        <p:spPr bwMode="auto">
          <a:xfrm rot="10800000">
            <a:off x="4892805" y="4527992"/>
            <a:ext cx="143524" cy="219909"/>
          </a:xfrm>
          <a:prstGeom prst="triangle">
            <a:avLst/>
          </a:prstGeom>
          <a:solidFill>
            <a:srgbClr val="0079AE"/>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37" name="Isosceles Triangle 36">
            <a:extLst>
              <a:ext uri="{FF2B5EF4-FFF2-40B4-BE49-F238E27FC236}">
                <a16:creationId xmlns:a16="http://schemas.microsoft.com/office/drawing/2014/main" id="{46FE2EC6-3308-4DF4-A15A-E32B16B73E90}"/>
              </a:ext>
            </a:extLst>
          </p:cNvPr>
          <p:cNvSpPr/>
          <p:nvPr/>
        </p:nvSpPr>
        <p:spPr bwMode="auto">
          <a:xfrm rot="10800000">
            <a:off x="8509789" y="4637947"/>
            <a:ext cx="143524" cy="219909"/>
          </a:xfrm>
          <a:prstGeom prst="triangle">
            <a:avLst/>
          </a:prstGeom>
          <a:solidFill>
            <a:srgbClr val="509AAF"/>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38" name="Isosceles Triangle 37">
            <a:extLst>
              <a:ext uri="{FF2B5EF4-FFF2-40B4-BE49-F238E27FC236}">
                <a16:creationId xmlns:a16="http://schemas.microsoft.com/office/drawing/2014/main" id="{651AFA31-29A9-4738-9345-1FB5FD975398}"/>
              </a:ext>
            </a:extLst>
          </p:cNvPr>
          <p:cNvSpPr/>
          <p:nvPr/>
        </p:nvSpPr>
        <p:spPr bwMode="auto">
          <a:xfrm rot="10800000">
            <a:off x="4892805" y="5401539"/>
            <a:ext cx="143524" cy="219909"/>
          </a:xfrm>
          <a:prstGeom prst="triangle">
            <a:avLst/>
          </a:prstGeom>
          <a:solidFill>
            <a:srgbClr val="0079AE"/>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31" name="Title 1">
            <a:extLst>
              <a:ext uri="{FF2B5EF4-FFF2-40B4-BE49-F238E27FC236}">
                <a16:creationId xmlns:a16="http://schemas.microsoft.com/office/drawing/2014/main" id="{D7939722-3940-437C-92A4-3A2FCB3C1E39}"/>
              </a:ext>
            </a:extLst>
          </p:cNvPr>
          <p:cNvSpPr txBox="1">
            <a:spLocks/>
          </p:cNvSpPr>
          <p:nvPr/>
        </p:nvSpPr>
        <p:spPr>
          <a:xfrm>
            <a:off x="417513" y="227576"/>
            <a:ext cx="9091142" cy="460800"/>
          </a:xfrm>
          <a:prstGeom prst="rect">
            <a:avLst/>
          </a:prstGeom>
        </p:spPr>
        <p:txBody>
          <a:bodyPr/>
          <a:lstStyle>
            <a:lvl1pPr algn="l" rtl="0" eaLnBrk="1" fontAlgn="base" hangingPunct="1">
              <a:spcBef>
                <a:spcPct val="0"/>
              </a:spcBef>
              <a:spcAft>
                <a:spcPct val="0"/>
              </a:spcAft>
              <a:defRPr lang="en-US" sz="2400" b="0" smtClean="0">
                <a:solidFill>
                  <a:srgbClr val="05405E"/>
                </a:solidFill>
                <a:latin typeface="Poppins Black" panose="00000A00000000000000" pitchFamily="2" charset="0"/>
                <a:ea typeface="+mj-ea"/>
                <a:cs typeface="Poppins Black" panose="00000A00000000000000" pitchFamily="2"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a:lstStyle>
          <a:p>
            <a:r>
              <a:rPr lang="en-IN" dirty="0"/>
              <a:t>Using Customer journey map to increase conversion rates</a:t>
            </a:r>
            <a:endParaRPr lang="en-US" kern="0" dirty="0"/>
          </a:p>
        </p:txBody>
      </p:sp>
    </p:spTree>
    <p:extLst>
      <p:ext uri="{BB962C8B-B14F-4D97-AF65-F5344CB8AC3E}">
        <p14:creationId xmlns:p14="http://schemas.microsoft.com/office/powerpoint/2010/main" val="22091027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8D091-218A-9B49-B6B6-1482446BDAED}"/>
              </a:ext>
            </a:extLst>
          </p:cNvPr>
          <p:cNvSpPr>
            <a:spLocks noGrp="1"/>
          </p:cNvSpPr>
          <p:nvPr>
            <p:ph type="title"/>
          </p:nvPr>
        </p:nvSpPr>
        <p:spPr>
          <a:xfrm>
            <a:off x="417513" y="227576"/>
            <a:ext cx="6469200" cy="460800"/>
          </a:xfrm>
        </p:spPr>
        <p:txBody>
          <a:bodyPr/>
          <a:lstStyle/>
          <a:p>
            <a:pPr algn="l" defTabSz="742950" eaLnBrk="1" fontAlgn="auto" hangingPunct="1">
              <a:spcBef>
                <a:spcPts val="0"/>
              </a:spcBef>
              <a:spcAft>
                <a:spcPts val="0"/>
              </a:spcAft>
            </a:pPr>
            <a:r>
              <a:rPr lang="en-GB" sz="2400" b="1" dirty="0">
                <a:solidFill>
                  <a:prstClr val="black"/>
                </a:solidFill>
                <a:latin typeface="Poppins Black" panose="020B0604020202020204" charset="0"/>
                <a:cs typeface="Poppins Black" panose="020B0604020202020204" charset="0"/>
              </a:rPr>
              <a:t>Most well known media</a:t>
            </a:r>
          </a:p>
        </p:txBody>
      </p:sp>
      <p:sp>
        <p:nvSpPr>
          <p:cNvPr id="16" name="Text Placeholder 15">
            <a:extLst>
              <a:ext uri="{FF2B5EF4-FFF2-40B4-BE49-F238E27FC236}">
                <a16:creationId xmlns:a16="http://schemas.microsoft.com/office/drawing/2014/main" id="{28C682F3-8BB9-4FF5-9428-74ABEE830683}"/>
              </a:ext>
            </a:extLst>
          </p:cNvPr>
          <p:cNvSpPr>
            <a:spLocks noGrp="1"/>
          </p:cNvSpPr>
          <p:nvPr>
            <p:ph type="body" sz="quarter" idx="13"/>
          </p:nvPr>
        </p:nvSpPr>
        <p:spPr>
          <a:xfrm>
            <a:off x="416634" y="6496469"/>
            <a:ext cx="3457498" cy="292946"/>
          </a:xfrm>
        </p:spPr>
        <p:txBody>
          <a:bodyPr>
            <a:normAutofit/>
          </a:bodyPr>
          <a:lstStyle/>
          <a:p>
            <a:r>
              <a:rPr lang="en-US" sz="900" dirty="0">
                <a:solidFill>
                  <a:srgbClr val="07AADB"/>
                </a:solidFill>
                <a:latin typeface="+mn-lt"/>
              </a:rPr>
              <a:t>The main sources of the broadcast are television and radio.</a:t>
            </a:r>
          </a:p>
          <a:p>
            <a:endParaRPr lang="en-IN" dirty="0"/>
          </a:p>
        </p:txBody>
      </p:sp>
      <p:sp>
        <p:nvSpPr>
          <p:cNvPr id="19" name="Rectangle 18">
            <a:extLst>
              <a:ext uri="{FF2B5EF4-FFF2-40B4-BE49-F238E27FC236}">
                <a16:creationId xmlns:a16="http://schemas.microsoft.com/office/drawing/2014/main" id="{6CEEC595-9A72-498E-8A80-5536540B6A1D}"/>
              </a:ext>
            </a:extLst>
          </p:cNvPr>
          <p:cNvSpPr/>
          <p:nvPr/>
        </p:nvSpPr>
        <p:spPr>
          <a:xfrm flipH="1">
            <a:off x="930842" y="1195388"/>
            <a:ext cx="8561139" cy="9014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0" tIns="37148" rIns="73125" bIns="37148" numCol="1" spcCol="0" rtlCol="0" fromWordArt="0" anchor="ctr" anchorCtr="0" forceAA="0" compatLnSpc="1">
            <a:prstTxWarp prst="textNoShape">
              <a:avLst/>
            </a:prstTxWarp>
            <a:noAutofit/>
          </a:bodyPr>
          <a:lstStyle/>
          <a:p>
            <a:pPr algn="r"/>
            <a:endParaRPr lang="en-US" sz="975" dirty="0">
              <a:solidFill>
                <a:schemeClr val="tx1"/>
              </a:solidFill>
            </a:endParaRPr>
          </a:p>
        </p:txBody>
      </p:sp>
      <p:sp>
        <p:nvSpPr>
          <p:cNvPr id="20" name="Rectangle 19">
            <a:extLst>
              <a:ext uri="{FF2B5EF4-FFF2-40B4-BE49-F238E27FC236}">
                <a16:creationId xmlns:a16="http://schemas.microsoft.com/office/drawing/2014/main" id="{C20FC30D-0CF7-42E9-80F3-06B77894ED20}"/>
              </a:ext>
            </a:extLst>
          </p:cNvPr>
          <p:cNvSpPr/>
          <p:nvPr/>
        </p:nvSpPr>
        <p:spPr>
          <a:xfrm flipH="1">
            <a:off x="930842" y="2242813"/>
            <a:ext cx="8561139" cy="9014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0" tIns="37148" rIns="73125" bIns="37148" numCol="1" spcCol="0" rtlCol="0" fromWordArt="0" anchor="ctr" anchorCtr="0" forceAA="0" compatLnSpc="1">
            <a:prstTxWarp prst="textNoShape">
              <a:avLst/>
            </a:prstTxWarp>
            <a:noAutofit/>
          </a:bodyPr>
          <a:lstStyle/>
          <a:p>
            <a:pPr algn="r"/>
            <a:endParaRPr lang="en-US" sz="975" dirty="0">
              <a:solidFill>
                <a:schemeClr val="tx1"/>
              </a:solidFill>
            </a:endParaRPr>
          </a:p>
        </p:txBody>
      </p:sp>
      <p:sp>
        <p:nvSpPr>
          <p:cNvPr id="21" name="Rectangle 20">
            <a:extLst>
              <a:ext uri="{FF2B5EF4-FFF2-40B4-BE49-F238E27FC236}">
                <a16:creationId xmlns:a16="http://schemas.microsoft.com/office/drawing/2014/main" id="{1571B599-8DB2-4643-A11C-E31AE6CB3E3F}"/>
              </a:ext>
            </a:extLst>
          </p:cNvPr>
          <p:cNvSpPr/>
          <p:nvPr/>
        </p:nvSpPr>
        <p:spPr>
          <a:xfrm flipH="1">
            <a:off x="930842" y="3290237"/>
            <a:ext cx="8561139" cy="9014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0" tIns="37148" rIns="73125" bIns="37148" numCol="1" spcCol="0" rtlCol="0" fromWordArt="0" anchor="ctr" anchorCtr="0" forceAA="0" compatLnSpc="1">
            <a:prstTxWarp prst="textNoShape">
              <a:avLst/>
            </a:prstTxWarp>
            <a:noAutofit/>
          </a:bodyPr>
          <a:lstStyle/>
          <a:p>
            <a:pPr algn="r"/>
            <a:endParaRPr lang="en-US" sz="975" dirty="0">
              <a:solidFill>
                <a:schemeClr val="tx1"/>
              </a:solidFill>
            </a:endParaRPr>
          </a:p>
        </p:txBody>
      </p:sp>
      <p:sp>
        <p:nvSpPr>
          <p:cNvPr id="22" name="Rectangle 21">
            <a:extLst>
              <a:ext uri="{FF2B5EF4-FFF2-40B4-BE49-F238E27FC236}">
                <a16:creationId xmlns:a16="http://schemas.microsoft.com/office/drawing/2014/main" id="{63F9F28F-E3C0-46BB-AB3B-3835218FF07D}"/>
              </a:ext>
            </a:extLst>
          </p:cNvPr>
          <p:cNvSpPr/>
          <p:nvPr/>
        </p:nvSpPr>
        <p:spPr>
          <a:xfrm flipH="1">
            <a:off x="930842" y="4337662"/>
            <a:ext cx="8561139" cy="9014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0" tIns="37148" rIns="73125" bIns="37148" numCol="1" spcCol="0" rtlCol="0" fromWordArt="0" anchor="ctr" anchorCtr="0" forceAA="0" compatLnSpc="1">
            <a:prstTxWarp prst="textNoShape">
              <a:avLst/>
            </a:prstTxWarp>
            <a:noAutofit/>
          </a:bodyPr>
          <a:lstStyle/>
          <a:p>
            <a:pPr algn="r"/>
            <a:endParaRPr lang="en-US" sz="975" dirty="0">
              <a:solidFill>
                <a:schemeClr val="tx1"/>
              </a:solidFill>
            </a:endParaRPr>
          </a:p>
        </p:txBody>
      </p:sp>
      <p:sp>
        <p:nvSpPr>
          <p:cNvPr id="23" name="Rectangle 22">
            <a:extLst>
              <a:ext uri="{FF2B5EF4-FFF2-40B4-BE49-F238E27FC236}">
                <a16:creationId xmlns:a16="http://schemas.microsoft.com/office/drawing/2014/main" id="{CC7C742E-BF80-4483-8E2C-559DF9218808}"/>
              </a:ext>
            </a:extLst>
          </p:cNvPr>
          <p:cNvSpPr/>
          <p:nvPr/>
        </p:nvSpPr>
        <p:spPr>
          <a:xfrm flipH="1">
            <a:off x="930842" y="5386993"/>
            <a:ext cx="8561139" cy="9014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0" tIns="37148" rIns="73125" bIns="37148" numCol="1" spcCol="0" rtlCol="0" fromWordArt="0" anchor="ctr" anchorCtr="0" forceAA="0" compatLnSpc="1">
            <a:prstTxWarp prst="textNoShape">
              <a:avLst/>
            </a:prstTxWarp>
            <a:noAutofit/>
          </a:bodyPr>
          <a:lstStyle/>
          <a:p>
            <a:pPr algn="r"/>
            <a:endParaRPr lang="en-US" sz="975" dirty="0">
              <a:solidFill>
                <a:schemeClr val="tx1"/>
              </a:solidFill>
            </a:endParaRPr>
          </a:p>
        </p:txBody>
      </p:sp>
      <p:sp>
        <p:nvSpPr>
          <p:cNvPr id="24" name="Rectangle: Rounded Corners 23">
            <a:extLst>
              <a:ext uri="{FF2B5EF4-FFF2-40B4-BE49-F238E27FC236}">
                <a16:creationId xmlns:a16="http://schemas.microsoft.com/office/drawing/2014/main" id="{E17FBEF6-BCA2-4A8B-A6CF-554E5ADCA671}"/>
              </a:ext>
            </a:extLst>
          </p:cNvPr>
          <p:cNvSpPr/>
          <p:nvPr/>
        </p:nvSpPr>
        <p:spPr>
          <a:xfrm flipH="1">
            <a:off x="416634" y="1195389"/>
            <a:ext cx="2869220" cy="901412"/>
          </a:xfrm>
          <a:prstGeom prst="roundRect">
            <a:avLst>
              <a:gd name="adj" fmla="val 50000"/>
            </a:avLst>
          </a:prstGeom>
          <a:solidFill>
            <a:srgbClr val="003F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37148" rIns="643500" bIns="37148" numCol="1" spcCol="0" rtlCol="0" fromWordArt="0" anchor="ctr" anchorCtr="0" forceAA="0" compatLnSpc="1">
            <a:prstTxWarp prst="textNoShape">
              <a:avLst/>
            </a:prstTxWarp>
            <a:noAutofit/>
          </a:bodyPr>
          <a:lstStyle/>
          <a:p>
            <a:endParaRPr lang="en-US" sz="975" b="1" dirty="0">
              <a:solidFill>
                <a:schemeClr val="bg1"/>
              </a:solidFill>
            </a:endParaRPr>
          </a:p>
        </p:txBody>
      </p:sp>
      <p:sp>
        <p:nvSpPr>
          <p:cNvPr id="25" name="Rectangle: Rounded Corners 24">
            <a:extLst>
              <a:ext uri="{FF2B5EF4-FFF2-40B4-BE49-F238E27FC236}">
                <a16:creationId xmlns:a16="http://schemas.microsoft.com/office/drawing/2014/main" id="{17C35828-DD46-40EF-B653-7B7B583DF143}"/>
              </a:ext>
            </a:extLst>
          </p:cNvPr>
          <p:cNvSpPr/>
          <p:nvPr/>
        </p:nvSpPr>
        <p:spPr>
          <a:xfrm flipH="1">
            <a:off x="416364" y="2242814"/>
            <a:ext cx="3722209" cy="901412"/>
          </a:xfrm>
          <a:prstGeom prst="roundRect">
            <a:avLst>
              <a:gd name="adj" fmla="val 50000"/>
            </a:avLst>
          </a:prstGeom>
          <a:solidFill>
            <a:srgbClr val="0355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37148" rIns="643500" bIns="37148" numCol="1" spcCol="0" rtlCol="0" fromWordArt="0" anchor="ctr" anchorCtr="0" forceAA="0" compatLnSpc="1">
            <a:prstTxWarp prst="textNoShape">
              <a:avLst/>
            </a:prstTxWarp>
            <a:noAutofit/>
          </a:bodyPr>
          <a:lstStyle/>
          <a:p>
            <a:endParaRPr lang="en-US" sz="975" b="1" dirty="0">
              <a:solidFill>
                <a:schemeClr val="bg1"/>
              </a:solidFill>
            </a:endParaRPr>
          </a:p>
        </p:txBody>
      </p:sp>
      <p:sp>
        <p:nvSpPr>
          <p:cNvPr id="26" name="Rectangle: Rounded Corners 25">
            <a:extLst>
              <a:ext uri="{FF2B5EF4-FFF2-40B4-BE49-F238E27FC236}">
                <a16:creationId xmlns:a16="http://schemas.microsoft.com/office/drawing/2014/main" id="{A458F24E-2B4F-4C04-834B-81DD5D248AB2}"/>
              </a:ext>
            </a:extLst>
          </p:cNvPr>
          <p:cNvSpPr/>
          <p:nvPr/>
        </p:nvSpPr>
        <p:spPr>
          <a:xfrm flipH="1">
            <a:off x="416364" y="3290237"/>
            <a:ext cx="4581619" cy="901412"/>
          </a:xfrm>
          <a:prstGeom prst="roundRect">
            <a:avLst>
              <a:gd name="adj" fmla="val 50000"/>
            </a:avLst>
          </a:prstGeom>
          <a:solidFill>
            <a:srgbClr val="0079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37148" rIns="643500" bIns="37148" numCol="1" spcCol="0" rtlCol="0" fromWordArt="0" anchor="ctr" anchorCtr="0" forceAA="0" compatLnSpc="1">
            <a:prstTxWarp prst="textNoShape">
              <a:avLst/>
            </a:prstTxWarp>
            <a:noAutofit/>
          </a:bodyPr>
          <a:lstStyle/>
          <a:p>
            <a:endParaRPr lang="en-US" sz="975" b="1" dirty="0">
              <a:solidFill>
                <a:schemeClr val="bg1"/>
              </a:solidFill>
            </a:endParaRPr>
          </a:p>
        </p:txBody>
      </p:sp>
      <p:sp>
        <p:nvSpPr>
          <p:cNvPr id="27" name="Rectangle: Rounded Corners 26">
            <a:extLst>
              <a:ext uri="{FF2B5EF4-FFF2-40B4-BE49-F238E27FC236}">
                <a16:creationId xmlns:a16="http://schemas.microsoft.com/office/drawing/2014/main" id="{13966CC1-4186-44B9-A8AC-5648663775CA}"/>
              </a:ext>
            </a:extLst>
          </p:cNvPr>
          <p:cNvSpPr/>
          <p:nvPr/>
        </p:nvSpPr>
        <p:spPr>
          <a:xfrm flipH="1">
            <a:off x="416364" y="4337662"/>
            <a:ext cx="5441030" cy="901412"/>
          </a:xfrm>
          <a:prstGeom prst="roundRect">
            <a:avLst>
              <a:gd name="adj" fmla="val 50000"/>
            </a:avLst>
          </a:prstGeom>
          <a:solidFill>
            <a:srgbClr val="1993C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37148" rIns="643500" bIns="37148" numCol="1" spcCol="0" rtlCol="0" fromWordArt="0" anchor="ctr" anchorCtr="0" forceAA="0" compatLnSpc="1">
            <a:prstTxWarp prst="textNoShape">
              <a:avLst/>
            </a:prstTxWarp>
            <a:noAutofit/>
          </a:bodyPr>
          <a:lstStyle/>
          <a:p>
            <a:endParaRPr lang="en-US" sz="975" b="1" dirty="0">
              <a:solidFill>
                <a:schemeClr val="bg1"/>
              </a:solidFill>
            </a:endParaRPr>
          </a:p>
        </p:txBody>
      </p:sp>
      <p:sp>
        <p:nvSpPr>
          <p:cNvPr id="28" name="Rectangle: Rounded Corners 27">
            <a:extLst>
              <a:ext uri="{FF2B5EF4-FFF2-40B4-BE49-F238E27FC236}">
                <a16:creationId xmlns:a16="http://schemas.microsoft.com/office/drawing/2014/main" id="{5F914634-6EDF-4805-BB27-8BEBBDA0A115}"/>
              </a:ext>
            </a:extLst>
          </p:cNvPr>
          <p:cNvSpPr/>
          <p:nvPr/>
        </p:nvSpPr>
        <p:spPr>
          <a:xfrm flipH="1">
            <a:off x="416364" y="5387013"/>
            <a:ext cx="6300442" cy="901412"/>
          </a:xfrm>
          <a:prstGeom prst="roundRect">
            <a:avLst>
              <a:gd name="adj" fmla="val 50000"/>
            </a:avLst>
          </a:prstGeom>
          <a:solidFill>
            <a:srgbClr val="07AAD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37148" rIns="643500" bIns="37148" numCol="1" spcCol="0" rtlCol="0" fromWordArt="0" anchor="ctr" anchorCtr="0" forceAA="0" compatLnSpc="1">
            <a:prstTxWarp prst="textNoShape">
              <a:avLst/>
            </a:prstTxWarp>
            <a:noAutofit/>
          </a:bodyPr>
          <a:lstStyle/>
          <a:p>
            <a:endParaRPr lang="en-US" sz="975" b="1" dirty="0">
              <a:solidFill>
                <a:schemeClr val="bg1"/>
              </a:solidFill>
            </a:endParaRPr>
          </a:p>
        </p:txBody>
      </p:sp>
      <p:sp>
        <p:nvSpPr>
          <p:cNvPr id="39" name="TextBox 38">
            <a:extLst>
              <a:ext uri="{FF2B5EF4-FFF2-40B4-BE49-F238E27FC236}">
                <a16:creationId xmlns:a16="http://schemas.microsoft.com/office/drawing/2014/main" id="{355CEA97-CCDA-4E36-A7EC-4EAEB28B048A}"/>
              </a:ext>
            </a:extLst>
          </p:cNvPr>
          <p:cNvSpPr txBox="1"/>
          <p:nvPr/>
        </p:nvSpPr>
        <p:spPr>
          <a:xfrm>
            <a:off x="1100138" y="1371775"/>
            <a:ext cx="1436906" cy="548640"/>
          </a:xfrm>
          <a:prstGeom prst="rect">
            <a:avLst/>
          </a:prstGeom>
          <a:noFill/>
        </p:spPr>
        <p:txBody>
          <a:bodyPr wrap="square" lIns="182880" tIns="182880" rIns="182880" bIns="182880" rtlCol="0">
            <a:noAutofit/>
          </a:bodyPr>
          <a:lstStyle/>
          <a:p>
            <a:r>
              <a:rPr lang="en-US" sz="1100" b="1" dirty="0">
                <a:solidFill>
                  <a:schemeClr val="bg1"/>
                </a:solidFill>
                <a:latin typeface="+mn-lt"/>
              </a:rPr>
              <a:t>Broadcasting</a:t>
            </a:r>
          </a:p>
        </p:txBody>
      </p:sp>
      <p:sp>
        <p:nvSpPr>
          <p:cNvPr id="40" name="TextBox 39">
            <a:extLst>
              <a:ext uri="{FF2B5EF4-FFF2-40B4-BE49-F238E27FC236}">
                <a16:creationId xmlns:a16="http://schemas.microsoft.com/office/drawing/2014/main" id="{D4D51EF6-30CA-4B55-8103-4EDECF9C9723}"/>
              </a:ext>
            </a:extLst>
          </p:cNvPr>
          <p:cNvSpPr txBox="1"/>
          <p:nvPr/>
        </p:nvSpPr>
        <p:spPr>
          <a:xfrm>
            <a:off x="1598358" y="2419200"/>
            <a:ext cx="1371600" cy="548640"/>
          </a:xfrm>
          <a:prstGeom prst="rect">
            <a:avLst/>
          </a:prstGeom>
          <a:noFill/>
        </p:spPr>
        <p:txBody>
          <a:bodyPr wrap="square" lIns="182880" tIns="182880" rIns="182880" bIns="182880" rtlCol="0">
            <a:noAutofit/>
          </a:bodyPr>
          <a:lstStyle/>
          <a:p>
            <a:r>
              <a:rPr lang="en-US" sz="1100" b="1" dirty="0">
                <a:solidFill>
                  <a:schemeClr val="bg1"/>
                </a:solidFill>
                <a:latin typeface="+mn-lt"/>
              </a:rPr>
              <a:t>Print Media</a:t>
            </a:r>
          </a:p>
        </p:txBody>
      </p:sp>
      <p:sp>
        <p:nvSpPr>
          <p:cNvPr id="41" name="TextBox 40">
            <a:extLst>
              <a:ext uri="{FF2B5EF4-FFF2-40B4-BE49-F238E27FC236}">
                <a16:creationId xmlns:a16="http://schemas.microsoft.com/office/drawing/2014/main" id="{B9C7427B-5563-442C-8AFF-5F2034DC8AA4}"/>
              </a:ext>
            </a:extLst>
          </p:cNvPr>
          <p:cNvSpPr txBox="1"/>
          <p:nvPr/>
        </p:nvSpPr>
        <p:spPr>
          <a:xfrm>
            <a:off x="2028063" y="3466623"/>
            <a:ext cx="1371600" cy="548640"/>
          </a:xfrm>
          <a:prstGeom prst="rect">
            <a:avLst/>
          </a:prstGeom>
          <a:noFill/>
        </p:spPr>
        <p:txBody>
          <a:bodyPr wrap="square" lIns="182880" tIns="182880" rIns="182880" bIns="182880" rtlCol="0">
            <a:noAutofit/>
          </a:bodyPr>
          <a:lstStyle/>
          <a:p>
            <a:r>
              <a:rPr lang="en-US" sz="1100" b="1" dirty="0">
                <a:solidFill>
                  <a:schemeClr val="bg1"/>
                </a:solidFill>
                <a:latin typeface="+mn-lt"/>
              </a:rPr>
              <a:t>Movies</a:t>
            </a:r>
          </a:p>
        </p:txBody>
      </p:sp>
      <p:sp>
        <p:nvSpPr>
          <p:cNvPr id="42" name="TextBox 41">
            <a:extLst>
              <a:ext uri="{FF2B5EF4-FFF2-40B4-BE49-F238E27FC236}">
                <a16:creationId xmlns:a16="http://schemas.microsoft.com/office/drawing/2014/main" id="{3EF809AB-39CD-480F-9713-94FB6B4193E7}"/>
              </a:ext>
            </a:extLst>
          </p:cNvPr>
          <p:cNvSpPr txBox="1"/>
          <p:nvPr/>
        </p:nvSpPr>
        <p:spPr>
          <a:xfrm>
            <a:off x="2887475" y="5561470"/>
            <a:ext cx="1371600" cy="548640"/>
          </a:xfrm>
          <a:prstGeom prst="rect">
            <a:avLst/>
          </a:prstGeom>
          <a:noFill/>
        </p:spPr>
        <p:txBody>
          <a:bodyPr wrap="square" lIns="182880" tIns="182880" rIns="182880" bIns="182880" rtlCol="0">
            <a:noAutofit/>
          </a:bodyPr>
          <a:lstStyle/>
          <a:p>
            <a:r>
              <a:rPr lang="en-US" sz="1100" b="1" dirty="0">
                <a:solidFill>
                  <a:schemeClr val="bg1"/>
                </a:solidFill>
                <a:latin typeface="+mn-lt"/>
              </a:rPr>
              <a:t>Games</a:t>
            </a:r>
          </a:p>
        </p:txBody>
      </p:sp>
      <p:sp>
        <p:nvSpPr>
          <p:cNvPr id="47" name="TextBox 46">
            <a:extLst>
              <a:ext uri="{FF2B5EF4-FFF2-40B4-BE49-F238E27FC236}">
                <a16:creationId xmlns:a16="http://schemas.microsoft.com/office/drawing/2014/main" id="{CEE37A5B-46E4-41C3-819E-9BBED026994E}"/>
              </a:ext>
            </a:extLst>
          </p:cNvPr>
          <p:cNvSpPr txBox="1"/>
          <p:nvPr/>
        </p:nvSpPr>
        <p:spPr>
          <a:xfrm>
            <a:off x="2457769" y="4514048"/>
            <a:ext cx="1371600" cy="548640"/>
          </a:xfrm>
          <a:prstGeom prst="rect">
            <a:avLst/>
          </a:prstGeom>
          <a:noFill/>
        </p:spPr>
        <p:txBody>
          <a:bodyPr wrap="square" lIns="182880" tIns="182880" rIns="182880" bIns="182880" rtlCol="0">
            <a:noAutofit/>
          </a:bodyPr>
          <a:lstStyle/>
          <a:p>
            <a:r>
              <a:rPr lang="en-US" sz="1100" b="1" dirty="0">
                <a:solidFill>
                  <a:schemeClr val="bg1"/>
                </a:solidFill>
                <a:latin typeface="+mn-lt"/>
              </a:rPr>
              <a:t>Internet</a:t>
            </a:r>
          </a:p>
        </p:txBody>
      </p:sp>
      <p:sp>
        <p:nvSpPr>
          <p:cNvPr id="48" name="TextBox 47">
            <a:extLst>
              <a:ext uri="{FF2B5EF4-FFF2-40B4-BE49-F238E27FC236}">
                <a16:creationId xmlns:a16="http://schemas.microsoft.com/office/drawing/2014/main" id="{07F0595F-8CDB-4A1D-A873-D6826CD1CDD4}"/>
              </a:ext>
            </a:extLst>
          </p:cNvPr>
          <p:cNvSpPr txBox="1"/>
          <p:nvPr/>
        </p:nvSpPr>
        <p:spPr>
          <a:xfrm>
            <a:off x="4795466" y="1363354"/>
            <a:ext cx="4863195" cy="731520"/>
          </a:xfrm>
          <a:prstGeom prst="rect">
            <a:avLst/>
          </a:prstGeom>
          <a:noFill/>
        </p:spPr>
        <p:txBody>
          <a:bodyPr wrap="square" lIns="182880" tIns="182880" rIns="182880" bIns="182880" rtlCol="0">
            <a:noAutofit/>
          </a:bodyPr>
          <a:lstStyle/>
          <a:p>
            <a:r>
              <a:rPr lang="en-US" sz="1100" dirty="0">
                <a:solidFill>
                  <a:schemeClr val="tx1"/>
                </a:solidFill>
                <a:latin typeface="+mn-lt"/>
              </a:rPr>
              <a:t>The main sources of the broadcast are television and radio.</a:t>
            </a:r>
            <a:endParaRPr lang="en-IN" sz="1100" dirty="0">
              <a:latin typeface="+mn-lt"/>
            </a:endParaRPr>
          </a:p>
        </p:txBody>
      </p:sp>
      <p:sp>
        <p:nvSpPr>
          <p:cNvPr id="49" name="TextBox 48">
            <a:extLst>
              <a:ext uri="{FF2B5EF4-FFF2-40B4-BE49-F238E27FC236}">
                <a16:creationId xmlns:a16="http://schemas.microsoft.com/office/drawing/2014/main" id="{E47B396A-FA2B-4E2A-BA72-26BA927BDD87}"/>
              </a:ext>
            </a:extLst>
          </p:cNvPr>
          <p:cNvSpPr txBox="1"/>
          <p:nvPr/>
        </p:nvSpPr>
        <p:spPr>
          <a:xfrm>
            <a:off x="5285370" y="2389061"/>
            <a:ext cx="4537074" cy="731520"/>
          </a:xfrm>
          <a:prstGeom prst="rect">
            <a:avLst/>
          </a:prstGeom>
          <a:noFill/>
        </p:spPr>
        <p:txBody>
          <a:bodyPr wrap="square" lIns="182880" tIns="182880" rIns="182880" bIns="182880" rtlCol="0">
            <a:noAutofit/>
          </a:bodyPr>
          <a:lstStyle/>
          <a:p>
            <a:r>
              <a:rPr lang="en-US" sz="1100" dirty="0">
                <a:solidFill>
                  <a:schemeClr val="tx1"/>
                </a:solidFill>
                <a:latin typeface="+mn-lt"/>
              </a:rPr>
              <a:t>It includes Newspapers, Magazines, and books, etc.</a:t>
            </a:r>
            <a:endParaRPr lang="en-IN" sz="1100" dirty="0">
              <a:latin typeface="+mn-lt"/>
            </a:endParaRPr>
          </a:p>
        </p:txBody>
      </p:sp>
      <p:sp>
        <p:nvSpPr>
          <p:cNvPr id="50" name="TextBox 49">
            <a:extLst>
              <a:ext uri="{FF2B5EF4-FFF2-40B4-BE49-F238E27FC236}">
                <a16:creationId xmlns:a16="http://schemas.microsoft.com/office/drawing/2014/main" id="{7C1355F7-BBA0-4F18-AD02-641D469C42C1}"/>
              </a:ext>
            </a:extLst>
          </p:cNvPr>
          <p:cNvSpPr txBox="1"/>
          <p:nvPr/>
        </p:nvSpPr>
        <p:spPr>
          <a:xfrm>
            <a:off x="5164611" y="3392100"/>
            <a:ext cx="4349117" cy="731520"/>
          </a:xfrm>
          <a:prstGeom prst="rect">
            <a:avLst/>
          </a:prstGeom>
          <a:noFill/>
        </p:spPr>
        <p:txBody>
          <a:bodyPr wrap="square" lIns="182880" tIns="182880" rIns="182880" bIns="182880" rtlCol="0">
            <a:noAutofit/>
          </a:bodyPr>
          <a:lstStyle/>
          <a:p>
            <a:pPr algn="r"/>
            <a:r>
              <a:rPr lang="en-US" sz="1100" dirty="0">
                <a:solidFill>
                  <a:schemeClr val="tx1"/>
                </a:solidFill>
                <a:latin typeface="+mn-lt"/>
              </a:rPr>
              <a:t>It is one of the oldest platforms of media and people went to the theaters to watch.</a:t>
            </a:r>
          </a:p>
        </p:txBody>
      </p:sp>
      <p:sp>
        <p:nvSpPr>
          <p:cNvPr id="51" name="TextBox 50">
            <a:extLst>
              <a:ext uri="{FF2B5EF4-FFF2-40B4-BE49-F238E27FC236}">
                <a16:creationId xmlns:a16="http://schemas.microsoft.com/office/drawing/2014/main" id="{56E57FE4-942B-47D9-A717-30B111316B21}"/>
              </a:ext>
            </a:extLst>
          </p:cNvPr>
          <p:cNvSpPr txBox="1"/>
          <p:nvPr/>
        </p:nvSpPr>
        <p:spPr>
          <a:xfrm>
            <a:off x="6190425" y="4483910"/>
            <a:ext cx="3324861" cy="731520"/>
          </a:xfrm>
          <a:prstGeom prst="rect">
            <a:avLst/>
          </a:prstGeom>
          <a:noFill/>
        </p:spPr>
        <p:txBody>
          <a:bodyPr wrap="square" lIns="182880" tIns="182880" rIns="182880" bIns="182880" rtlCol="0">
            <a:noAutofit/>
          </a:bodyPr>
          <a:lstStyle/>
          <a:p>
            <a:pPr algn="r"/>
            <a:r>
              <a:rPr lang="en-US" sz="1100" dirty="0">
                <a:solidFill>
                  <a:schemeClr val="tx1"/>
                </a:solidFill>
                <a:latin typeface="+mn-lt"/>
              </a:rPr>
              <a:t>The Internet is one of the newest sources of media.</a:t>
            </a:r>
          </a:p>
        </p:txBody>
      </p:sp>
      <p:sp>
        <p:nvSpPr>
          <p:cNvPr id="52" name="TextBox 51">
            <a:extLst>
              <a:ext uri="{FF2B5EF4-FFF2-40B4-BE49-F238E27FC236}">
                <a16:creationId xmlns:a16="http://schemas.microsoft.com/office/drawing/2014/main" id="{79E5F407-C9C1-410F-B7E1-D1C04B5CAC0E}"/>
              </a:ext>
            </a:extLst>
          </p:cNvPr>
          <p:cNvSpPr txBox="1"/>
          <p:nvPr/>
        </p:nvSpPr>
        <p:spPr>
          <a:xfrm>
            <a:off x="6082979" y="5476878"/>
            <a:ext cx="3430853" cy="731520"/>
          </a:xfrm>
          <a:prstGeom prst="rect">
            <a:avLst/>
          </a:prstGeom>
          <a:noFill/>
        </p:spPr>
        <p:txBody>
          <a:bodyPr wrap="square" lIns="182880" tIns="182880" rIns="182880" bIns="182880" rtlCol="0">
            <a:noAutofit/>
          </a:bodyPr>
          <a:lstStyle/>
          <a:p>
            <a:pPr algn="r"/>
            <a:r>
              <a:rPr lang="en-US" sz="1100" dirty="0">
                <a:solidFill>
                  <a:schemeClr val="tx1"/>
                </a:solidFill>
                <a:latin typeface="+mn-lt"/>
              </a:rPr>
              <a:t>It is only grown in youth with high dimensions and more graphics.</a:t>
            </a:r>
            <a:endParaRPr lang="en-IN" sz="1100" dirty="0">
              <a:latin typeface="+mn-lt"/>
            </a:endParaRPr>
          </a:p>
        </p:txBody>
      </p:sp>
      <p:grpSp>
        <p:nvGrpSpPr>
          <p:cNvPr id="60" name="Group 59">
            <a:extLst>
              <a:ext uri="{FF2B5EF4-FFF2-40B4-BE49-F238E27FC236}">
                <a16:creationId xmlns:a16="http://schemas.microsoft.com/office/drawing/2014/main" id="{3DCA9E9B-5F08-4B3A-BD8C-C77A95053BFB}"/>
              </a:ext>
            </a:extLst>
          </p:cNvPr>
          <p:cNvGrpSpPr/>
          <p:nvPr/>
        </p:nvGrpSpPr>
        <p:grpSpPr>
          <a:xfrm>
            <a:off x="2440454" y="1271938"/>
            <a:ext cx="731520" cy="731520"/>
            <a:chOff x="2393799" y="1234614"/>
            <a:chExt cx="822960" cy="822960"/>
          </a:xfrm>
        </p:grpSpPr>
        <p:sp>
          <p:nvSpPr>
            <p:cNvPr id="29" name="Oval 28">
              <a:extLst>
                <a:ext uri="{FF2B5EF4-FFF2-40B4-BE49-F238E27FC236}">
                  <a16:creationId xmlns:a16="http://schemas.microsoft.com/office/drawing/2014/main" id="{967877B6-206F-4067-90C1-C7F72CA7B631}"/>
                </a:ext>
              </a:extLst>
            </p:cNvPr>
            <p:cNvSpPr/>
            <p:nvPr/>
          </p:nvSpPr>
          <p:spPr>
            <a:xfrm flipH="1">
              <a:off x="2393799" y="1234614"/>
              <a:ext cx="822960" cy="822960"/>
            </a:xfrm>
            <a:prstGeom prst="ellipse">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eaLnBrk="1" fontAlgn="auto" hangingPunct="1">
                <a:spcBef>
                  <a:spcPts val="0"/>
                </a:spcBef>
                <a:spcAft>
                  <a:spcPts val="0"/>
                </a:spcAft>
              </a:pPr>
              <a:endParaRPr lang="en-US" sz="975" b="1" dirty="0">
                <a:solidFill>
                  <a:prstClr val="white"/>
                </a:solidFill>
                <a:latin typeface="Calibri" panose="020F0502020204030204"/>
              </a:endParaRPr>
            </a:p>
          </p:txBody>
        </p:sp>
        <p:sp>
          <p:nvSpPr>
            <p:cNvPr id="13" name="Freeform: Shape 12">
              <a:extLst>
                <a:ext uri="{FF2B5EF4-FFF2-40B4-BE49-F238E27FC236}">
                  <a16:creationId xmlns:a16="http://schemas.microsoft.com/office/drawing/2014/main" id="{5421B6F2-1CCC-4E9A-917D-007B07CAAB3A}"/>
                </a:ext>
              </a:extLst>
            </p:cNvPr>
            <p:cNvSpPr/>
            <p:nvPr/>
          </p:nvSpPr>
          <p:spPr>
            <a:xfrm>
              <a:off x="2576679" y="1417494"/>
              <a:ext cx="457200" cy="457200"/>
            </a:xfrm>
            <a:custGeom>
              <a:avLst/>
              <a:gdLst>
                <a:gd name="connsiteX0" fmla="*/ 651960 w 2279787"/>
                <a:gd name="connsiteY0" fmla="*/ 1973397 h 1980857"/>
                <a:gd name="connsiteX1" fmla="*/ 639274 w 2279787"/>
                <a:gd name="connsiteY1" fmla="*/ 1952392 h 1980857"/>
                <a:gd name="connsiteX2" fmla="*/ 690428 w 2279787"/>
                <a:gd name="connsiteY2" fmla="*/ 1923342 h 1980857"/>
                <a:gd name="connsiteX3" fmla="*/ 718709 w 2279787"/>
                <a:gd name="connsiteY3" fmla="*/ 1914610 h 1980857"/>
                <a:gd name="connsiteX4" fmla="*/ 733399 w 2279787"/>
                <a:gd name="connsiteY4" fmla="*/ 1859420 h 1980857"/>
                <a:gd name="connsiteX5" fmla="*/ 764591 w 2279787"/>
                <a:gd name="connsiteY5" fmla="*/ 1783884 h 1980857"/>
                <a:gd name="connsiteX6" fmla="*/ 808496 w 2279787"/>
                <a:gd name="connsiteY6" fmla="*/ 1788278 h 1980857"/>
                <a:gd name="connsiteX7" fmla="*/ 815909 w 2279787"/>
                <a:gd name="connsiteY7" fmla="*/ 1818289 h 1980857"/>
                <a:gd name="connsiteX8" fmla="*/ 801439 w 2279787"/>
                <a:gd name="connsiteY8" fmla="*/ 1881689 h 1980857"/>
                <a:gd name="connsiteX9" fmla="*/ 789852 w 2279787"/>
                <a:gd name="connsiteY9" fmla="*/ 1923342 h 1980857"/>
                <a:gd name="connsiteX10" fmla="*/ 827771 w 2279787"/>
                <a:gd name="connsiteY10" fmla="*/ 1923342 h 1980857"/>
                <a:gd name="connsiteX11" fmla="*/ 865718 w 2279787"/>
                <a:gd name="connsiteY11" fmla="*/ 1920432 h 1980857"/>
                <a:gd name="connsiteX12" fmla="*/ 1111052 w 2279787"/>
                <a:gd name="connsiteY12" fmla="*/ 1013725 h 1980857"/>
                <a:gd name="connsiteX13" fmla="*/ 1171321 w 2279787"/>
                <a:gd name="connsiteY13" fmla="*/ 1018201 h 1980857"/>
                <a:gd name="connsiteX14" fmla="*/ 1296720 w 2279787"/>
                <a:gd name="connsiteY14" fmla="*/ 1476029 h 1980857"/>
                <a:gd name="connsiteX15" fmla="*/ 1417149 w 2279787"/>
                <a:gd name="connsiteY15" fmla="*/ 1922546 h 1980857"/>
                <a:gd name="connsiteX16" fmla="*/ 1454355 w 2279787"/>
                <a:gd name="connsiteY16" fmla="*/ 1922546 h 1980857"/>
                <a:gd name="connsiteX17" fmla="*/ 1490214 w 2279787"/>
                <a:gd name="connsiteY17" fmla="*/ 1921392 h 1980857"/>
                <a:gd name="connsiteX18" fmla="*/ 1407045 w 2279787"/>
                <a:gd name="connsiteY18" fmla="*/ 1611560 h 1980857"/>
                <a:gd name="connsiteX19" fmla="*/ 1323629 w 2279787"/>
                <a:gd name="connsiteY19" fmla="*/ 1289152 h 1980857"/>
                <a:gd name="connsiteX20" fmla="*/ 1332992 w 2279787"/>
                <a:gd name="connsiteY20" fmla="*/ 1268834 h 1980857"/>
                <a:gd name="connsiteX21" fmla="*/ 1382800 w 2279787"/>
                <a:gd name="connsiteY21" fmla="*/ 1268148 h 1980857"/>
                <a:gd name="connsiteX22" fmla="*/ 1475058 w 2279787"/>
                <a:gd name="connsiteY22" fmla="*/ 1590555 h 1980857"/>
                <a:gd name="connsiteX23" fmla="*/ 1561879 w 2279787"/>
                <a:gd name="connsiteY23" fmla="*/ 1914610 h 1980857"/>
                <a:gd name="connsiteX24" fmla="*/ 1598260 w 2279787"/>
                <a:gd name="connsiteY24" fmla="*/ 1923342 h 1980857"/>
                <a:gd name="connsiteX25" fmla="*/ 1643950 w 2279787"/>
                <a:gd name="connsiteY25" fmla="*/ 1932842 h 1980857"/>
                <a:gd name="connsiteX26" fmla="*/ 1655756 w 2279787"/>
                <a:gd name="connsiteY26" fmla="*/ 1952392 h 1980857"/>
                <a:gd name="connsiteX27" fmla="*/ 1643950 w 2279787"/>
                <a:gd name="connsiteY27" fmla="*/ 1971915 h 1980857"/>
                <a:gd name="connsiteX28" fmla="*/ 1632115 w 2279787"/>
                <a:gd name="connsiteY28" fmla="*/ 1981414 h 1980857"/>
                <a:gd name="connsiteX29" fmla="*/ 1148394 w 2279787"/>
                <a:gd name="connsiteY29" fmla="*/ 1981414 h 1980857"/>
                <a:gd name="connsiteX30" fmla="*/ 651960 w 2279787"/>
                <a:gd name="connsiteY30" fmla="*/ 1973397 h 1980857"/>
                <a:gd name="connsiteX31" fmla="*/ 1340295 w 2279787"/>
                <a:gd name="connsiteY31" fmla="*/ 1914610 h 1980857"/>
                <a:gd name="connsiteX32" fmla="*/ 1313607 w 2279787"/>
                <a:gd name="connsiteY32" fmla="*/ 1815131 h 1980857"/>
                <a:gd name="connsiteX33" fmla="*/ 1287769 w 2279787"/>
                <a:gd name="connsiteY33" fmla="*/ 1723038 h 1980857"/>
                <a:gd name="connsiteX34" fmla="*/ 1117312 w 2279787"/>
                <a:gd name="connsiteY34" fmla="*/ 1799782 h 1980857"/>
                <a:gd name="connsiteX35" fmla="*/ 948502 w 2279787"/>
                <a:gd name="connsiteY35" fmla="*/ 1877844 h 1980857"/>
                <a:gd name="connsiteX36" fmla="*/ 945262 w 2279787"/>
                <a:gd name="connsiteY36" fmla="*/ 1895280 h 1980857"/>
                <a:gd name="connsiteX37" fmla="*/ 939469 w 2279787"/>
                <a:gd name="connsiteY37" fmla="*/ 1918015 h 1980857"/>
                <a:gd name="connsiteX38" fmla="*/ 1139882 w 2279787"/>
                <a:gd name="connsiteY38" fmla="*/ 1923342 h 1980857"/>
                <a:gd name="connsiteX39" fmla="*/ 1342821 w 2279787"/>
                <a:gd name="connsiteY39" fmla="*/ 1923342 h 1980857"/>
                <a:gd name="connsiteX40" fmla="*/ 1141694 w 2279787"/>
                <a:gd name="connsiteY40" fmla="*/ 1722104 h 1980857"/>
                <a:gd name="connsiteX41" fmla="*/ 1246143 w 2279787"/>
                <a:gd name="connsiteY41" fmla="*/ 1671748 h 1980857"/>
                <a:gd name="connsiteX42" fmla="*/ 1040705 w 2279787"/>
                <a:gd name="connsiteY42" fmla="*/ 1545113 h 1980857"/>
                <a:gd name="connsiteX43" fmla="*/ 971676 w 2279787"/>
                <a:gd name="connsiteY43" fmla="*/ 1797970 h 1980857"/>
                <a:gd name="connsiteX44" fmla="*/ 1141694 w 2279787"/>
                <a:gd name="connsiteY44" fmla="*/ 1722104 h 1980857"/>
                <a:gd name="connsiteX45" fmla="*/ 1230602 w 2279787"/>
                <a:gd name="connsiteY45" fmla="*/ 1503789 h 1980857"/>
                <a:gd name="connsiteX46" fmla="*/ 1201662 w 2279787"/>
                <a:gd name="connsiteY46" fmla="*/ 1408264 h 1980857"/>
                <a:gd name="connsiteX47" fmla="*/ 1080079 w 2279787"/>
                <a:gd name="connsiteY47" fmla="*/ 1490170 h 1980857"/>
                <a:gd name="connsiteX48" fmla="*/ 1254518 w 2279787"/>
                <a:gd name="connsiteY48" fmla="*/ 1600412 h 1980857"/>
                <a:gd name="connsiteX49" fmla="*/ 1230602 w 2279787"/>
                <a:gd name="connsiteY49" fmla="*/ 1503789 h 1980857"/>
                <a:gd name="connsiteX50" fmla="*/ 1134363 w 2279787"/>
                <a:gd name="connsiteY50" fmla="*/ 1375754 h 1980857"/>
                <a:gd name="connsiteX51" fmla="*/ 1186944 w 2279787"/>
                <a:gd name="connsiteY51" fmla="*/ 1341322 h 1980857"/>
                <a:gd name="connsiteX52" fmla="*/ 1175824 w 2279787"/>
                <a:gd name="connsiteY52" fmla="*/ 1300246 h 1980857"/>
                <a:gd name="connsiteX53" fmla="*/ 1153940 w 2279787"/>
                <a:gd name="connsiteY53" fmla="*/ 1217516 h 1980857"/>
                <a:gd name="connsiteX54" fmla="*/ 1140541 w 2279787"/>
                <a:gd name="connsiteY54" fmla="*/ 1175863 h 1980857"/>
                <a:gd name="connsiteX55" fmla="*/ 1106192 w 2279787"/>
                <a:gd name="connsiteY55" fmla="*/ 1294095 h 1980857"/>
                <a:gd name="connsiteX56" fmla="*/ 1078157 w 2279787"/>
                <a:gd name="connsiteY56" fmla="*/ 1411257 h 1980857"/>
                <a:gd name="connsiteX57" fmla="*/ 1134363 w 2279787"/>
                <a:gd name="connsiteY57" fmla="*/ 1375754 h 1980857"/>
                <a:gd name="connsiteX58" fmla="*/ 792516 w 2279787"/>
                <a:gd name="connsiteY58" fmla="*/ 1707415 h 1980857"/>
                <a:gd name="connsiteX59" fmla="*/ 781807 w 2279787"/>
                <a:gd name="connsiteY59" fmla="*/ 1695773 h 1980857"/>
                <a:gd name="connsiteX60" fmla="*/ 997432 w 2279787"/>
                <a:gd name="connsiteY60" fmla="*/ 893405 h 1980857"/>
                <a:gd name="connsiteX61" fmla="*/ 1029173 w 2279787"/>
                <a:gd name="connsiteY61" fmla="*/ 867266 h 1980857"/>
                <a:gd name="connsiteX62" fmla="*/ 1140294 w 2279787"/>
                <a:gd name="connsiteY62" fmla="*/ 858287 h 1980857"/>
                <a:gd name="connsiteX63" fmla="*/ 1251415 w 2279787"/>
                <a:gd name="connsiteY63" fmla="*/ 867266 h 1980857"/>
                <a:gd name="connsiteX64" fmla="*/ 1283129 w 2279787"/>
                <a:gd name="connsiteY64" fmla="*/ 893405 h 1980857"/>
                <a:gd name="connsiteX65" fmla="*/ 1328571 w 2279787"/>
                <a:gd name="connsiteY65" fmla="*/ 1041485 h 1980857"/>
                <a:gd name="connsiteX66" fmla="*/ 1363415 w 2279787"/>
                <a:gd name="connsiteY66" fmla="*/ 1172375 h 1980857"/>
                <a:gd name="connsiteX67" fmla="*/ 1353750 w 2279787"/>
                <a:gd name="connsiteY67" fmla="*/ 1182837 h 1980857"/>
                <a:gd name="connsiteX68" fmla="*/ 1327555 w 2279787"/>
                <a:gd name="connsiteY68" fmla="*/ 1194451 h 1980857"/>
                <a:gd name="connsiteX69" fmla="*/ 1258554 w 2279787"/>
                <a:gd name="connsiteY69" fmla="*/ 1055818 h 1980857"/>
                <a:gd name="connsiteX70" fmla="*/ 1223683 w 2279787"/>
                <a:gd name="connsiteY70" fmla="*/ 925092 h 1980857"/>
                <a:gd name="connsiteX71" fmla="*/ 1139772 w 2279787"/>
                <a:gd name="connsiteY71" fmla="*/ 916387 h 1980857"/>
                <a:gd name="connsiteX72" fmla="*/ 1058388 w 2279787"/>
                <a:gd name="connsiteY72" fmla="*/ 918200 h 1980857"/>
                <a:gd name="connsiteX73" fmla="*/ 850890 w 2279787"/>
                <a:gd name="connsiteY73" fmla="*/ 1691874 h 1980857"/>
                <a:gd name="connsiteX74" fmla="*/ 836942 w 2279787"/>
                <a:gd name="connsiteY74" fmla="*/ 1710270 h 1980857"/>
                <a:gd name="connsiteX75" fmla="*/ 792516 w 2279787"/>
                <a:gd name="connsiteY75" fmla="*/ 1707415 h 1980857"/>
                <a:gd name="connsiteX76" fmla="*/ 391167 w 2279787"/>
                <a:gd name="connsiteY76" fmla="*/ 1610132 h 1980857"/>
                <a:gd name="connsiteX77" fmla="*/ 238338 w 2279787"/>
                <a:gd name="connsiteY77" fmla="*/ 1481576 h 1980857"/>
                <a:gd name="connsiteX78" fmla="*/ 12013 w 2279787"/>
                <a:gd name="connsiteY78" fmla="*/ 1063561 h 1980857"/>
                <a:gd name="connsiteX79" fmla="*/ 9725 w 2279787"/>
                <a:gd name="connsiteY79" fmla="*/ 780967 h 1980857"/>
                <a:gd name="connsiteX80" fmla="*/ 632053 w 2279787"/>
                <a:gd name="connsiteY80" fmla="*/ 95239 h 1980857"/>
                <a:gd name="connsiteX81" fmla="*/ 978898 w 2279787"/>
                <a:gd name="connsiteY81" fmla="*/ 7786 h 1980857"/>
                <a:gd name="connsiteX82" fmla="*/ 1299549 w 2279787"/>
                <a:gd name="connsiteY82" fmla="*/ 7457 h 1980857"/>
                <a:gd name="connsiteX83" fmla="*/ 1946698 w 2279787"/>
                <a:gd name="connsiteY83" fmla="*/ 267426 h 1980857"/>
                <a:gd name="connsiteX84" fmla="*/ 2270835 w 2279787"/>
                <a:gd name="connsiteY84" fmla="*/ 780967 h 1980857"/>
                <a:gd name="connsiteX85" fmla="*/ 2270753 w 2279787"/>
                <a:gd name="connsiteY85" fmla="*/ 1053868 h 1980857"/>
                <a:gd name="connsiteX86" fmla="*/ 2052739 w 2279787"/>
                <a:gd name="connsiteY86" fmla="*/ 1470209 h 1980857"/>
                <a:gd name="connsiteX87" fmla="*/ 1875747 w 2279787"/>
                <a:gd name="connsiteY87" fmla="*/ 1615761 h 1980857"/>
                <a:gd name="connsiteX88" fmla="*/ 1834973 w 2279787"/>
                <a:gd name="connsiteY88" fmla="*/ 1589375 h 1980857"/>
                <a:gd name="connsiteX89" fmla="*/ 1882474 w 2279787"/>
                <a:gd name="connsiteY89" fmla="*/ 1537479 h 1980857"/>
                <a:gd name="connsiteX90" fmla="*/ 2101504 w 2279787"/>
                <a:gd name="connsiteY90" fmla="*/ 1293985 h 1980857"/>
                <a:gd name="connsiteX91" fmla="*/ 2156144 w 2279787"/>
                <a:gd name="connsiteY91" fmla="*/ 647220 h 1980857"/>
                <a:gd name="connsiteX92" fmla="*/ 1405919 w 2279787"/>
                <a:gd name="connsiteY92" fmla="*/ 83542 h 1980857"/>
                <a:gd name="connsiteX93" fmla="*/ 1178844 w 2279787"/>
                <a:gd name="connsiteY93" fmla="*/ 57924 h 1980857"/>
                <a:gd name="connsiteX94" fmla="*/ 124251 w 2279787"/>
                <a:gd name="connsiteY94" fmla="*/ 647742 h 1980857"/>
                <a:gd name="connsiteX95" fmla="*/ 70901 w 2279787"/>
                <a:gd name="connsiteY95" fmla="*/ 918337 h 1980857"/>
                <a:gd name="connsiteX96" fmla="*/ 179112 w 2279787"/>
                <a:gd name="connsiteY96" fmla="*/ 1293985 h 1980857"/>
                <a:gd name="connsiteX97" fmla="*/ 397867 w 2279787"/>
                <a:gd name="connsiteY97" fmla="*/ 1537287 h 1980857"/>
                <a:gd name="connsiteX98" fmla="*/ 446577 w 2279787"/>
                <a:gd name="connsiteY98" fmla="*/ 1588304 h 1980857"/>
                <a:gd name="connsiteX99" fmla="*/ 433891 w 2279787"/>
                <a:gd name="connsiteY99" fmla="*/ 1609364 h 1980857"/>
                <a:gd name="connsiteX100" fmla="*/ 391194 w 2279787"/>
                <a:gd name="connsiteY100" fmla="*/ 1610132 h 1980857"/>
                <a:gd name="connsiteX101" fmla="*/ 628758 w 2279787"/>
                <a:gd name="connsiteY101" fmla="*/ 1439593 h 1980857"/>
                <a:gd name="connsiteX102" fmla="*/ 399652 w 2279787"/>
                <a:gd name="connsiteY102" fmla="*/ 1212656 h 1980857"/>
                <a:gd name="connsiteX103" fmla="*/ 314917 w 2279787"/>
                <a:gd name="connsiteY103" fmla="*/ 914466 h 1980857"/>
                <a:gd name="connsiteX104" fmla="*/ 355335 w 2279787"/>
                <a:gd name="connsiteY104" fmla="*/ 709467 h 1980857"/>
                <a:gd name="connsiteX105" fmla="*/ 771757 w 2279787"/>
                <a:gd name="connsiteY105" fmla="*/ 323824 h 1980857"/>
                <a:gd name="connsiteX106" fmla="*/ 978129 w 2279787"/>
                <a:gd name="connsiteY106" fmla="*/ 264900 h 1980857"/>
                <a:gd name="connsiteX107" fmla="*/ 1140294 w 2279787"/>
                <a:gd name="connsiteY107" fmla="*/ 256306 h 1980857"/>
                <a:gd name="connsiteX108" fmla="*/ 1304079 w 2279787"/>
                <a:gd name="connsiteY108" fmla="*/ 265120 h 1980857"/>
                <a:gd name="connsiteX109" fmla="*/ 1671517 w 2279787"/>
                <a:gd name="connsiteY109" fmla="*/ 408147 h 1980857"/>
                <a:gd name="connsiteX110" fmla="*/ 1706553 w 2279787"/>
                <a:gd name="connsiteY110" fmla="*/ 473111 h 1980857"/>
                <a:gd name="connsiteX111" fmla="*/ 1633378 w 2279787"/>
                <a:gd name="connsiteY111" fmla="*/ 457186 h 1980857"/>
                <a:gd name="connsiteX112" fmla="*/ 1329615 w 2279787"/>
                <a:gd name="connsiteY112" fmla="*/ 330167 h 1980857"/>
                <a:gd name="connsiteX113" fmla="*/ 1192106 w 2279787"/>
                <a:gd name="connsiteY113" fmla="*/ 312319 h 1980857"/>
                <a:gd name="connsiteX114" fmla="*/ 404100 w 2279787"/>
                <a:gd name="connsiteY114" fmla="*/ 782779 h 1980857"/>
                <a:gd name="connsiteX115" fmla="*/ 517417 w 2279787"/>
                <a:gd name="connsiteY115" fmla="*/ 1260212 h 1980857"/>
                <a:gd name="connsiteX116" fmla="*/ 671784 w 2279787"/>
                <a:gd name="connsiteY116" fmla="*/ 1393519 h 1980857"/>
                <a:gd name="connsiteX117" fmla="*/ 711543 w 2279787"/>
                <a:gd name="connsiteY117" fmla="*/ 1433332 h 1980857"/>
                <a:gd name="connsiteX118" fmla="*/ 675079 w 2279787"/>
                <a:gd name="connsiteY118" fmla="*/ 1462465 h 1980857"/>
                <a:gd name="connsiteX119" fmla="*/ 628758 w 2279787"/>
                <a:gd name="connsiteY119" fmla="*/ 1439593 h 1980857"/>
                <a:gd name="connsiteX120" fmla="*/ 1581731 w 2279787"/>
                <a:gd name="connsiteY120" fmla="*/ 1454448 h 1980857"/>
                <a:gd name="connsiteX121" fmla="*/ 1569045 w 2279787"/>
                <a:gd name="connsiteY121" fmla="*/ 1433332 h 1980857"/>
                <a:gd name="connsiteX122" fmla="*/ 1608831 w 2279787"/>
                <a:gd name="connsiteY122" fmla="*/ 1393546 h 1980857"/>
                <a:gd name="connsiteX123" fmla="*/ 1857707 w 2279787"/>
                <a:gd name="connsiteY123" fmla="*/ 1103566 h 1980857"/>
                <a:gd name="connsiteX124" fmla="*/ 1893622 w 2279787"/>
                <a:gd name="connsiteY124" fmla="*/ 916387 h 1980857"/>
                <a:gd name="connsiteX125" fmla="*/ 1885000 w 2279787"/>
                <a:gd name="connsiteY125" fmla="*/ 813751 h 1980857"/>
                <a:gd name="connsiteX126" fmla="*/ 1770749 w 2279787"/>
                <a:gd name="connsiteY126" fmla="*/ 582942 h 1980857"/>
                <a:gd name="connsiteX127" fmla="*/ 1747300 w 2279787"/>
                <a:gd name="connsiteY127" fmla="*/ 546039 h 1980857"/>
                <a:gd name="connsiteX128" fmla="*/ 1802517 w 2279787"/>
                <a:gd name="connsiteY128" fmla="*/ 522837 h 1980857"/>
                <a:gd name="connsiteX129" fmla="*/ 1889558 w 2279787"/>
                <a:gd name="connsiteY129" fmla="*/ 635606 h 1980857"/>
                <a:gd name="connsiteX130" fmla="*/ 1652132 w 2279787"/>
                <a:gd name="connsiteY130" fmla="*/ 1439758 h 1980857"/>
                <a:gd name="connsiteX131" fmla="*/ 1581731 w 2279787"/>
                <a:gd name="connsiteY131" fmla="*/ 1454448 h 1980857"/>
                <a:gd name="connsiteX132" fmla="*/ 802208 w 2279787"/>
                <a:gd name="connsiteY132" fmla="*/ 1144725 h 1980857"/>
                <a:gd name="connsiteX133" fmla="*/ 735761 w 2279787"/>
                <a:gd name="connsiteY133" fmla="*/ 1062490 h 1980857"/>
                <a:gd name="connsiteX134" fmla="*/ 700230 w 2279787"/>
                <a:gd name="connsiteY134" fmla="*/ 916387 h 1980857"/>
                <a:gd name="connsiteX135" fmla="*/ 740291 w 2279787"/>
                <a:gd name="connsiteY135" fmla="*/ 766277 h 1980857"/>
                <a:gd name="connsiteX136" fmla="*/ 816184 w 2279787"/>
                <a:gd name="connsiteY136" fmla="*/ 676023 h 1980857"/>
                <a:gd name="connsiteX137" fmla="*/ 1506744 w 2279787"/>
                <a:gd name="connsiteY137" fmla="*/ 717320 h 1980857"/>
                <a:gd name="connsiteX138" fmla="*/ 1569979 w 2279787"/>
                <a:gd name="connsiteY138" fmla="*/ 830088 h 1980857"/>
                <a:gd name="connsiteX139" fmla="*/ 1569677 w 2279787"/>
                <a:gd name="connsiteY139" fmla="*/ 1005103 h 1980857"/>
                <a:gd name="connsiteX140" fmla="*/ 1508583 w 2279787"/>
                <a:gd name="connsiteY140" fmla="*/ 1114192 h 1980857"/>
                <a:gd name="connsiteX141" fmla="*/ 1436342 w 2279787"/>
                <a:gd name="connsiteY141" fmla="*/ 1139261 h 1980857"/>
                <a:gd name="connsiteX142" fmla="*/ 1443536 w 2279787"/>
                <a:gd name="connsiteY142" fmla="*/ 1089014 h 1980857"/>
                <a:gd name="connsiteX143" fmla="*/ 1509764 w 2279787"/>
                <a:gd name="connsiteY143" fmla="*/ 931736 h 1980857"/>
                <a:gd name="connsiteX144" fmla="*/ 1259268 w 2279787"/>
                <a:gd name="connsiteY144" fmla="*/ 635661 h 1980857"/>
                <a:gd name="connsiteX145" fmla="*/ 1021320 w 2279787"/>
                <a:gd name="connsiteY145" fmla="*/ 635661 h 1980857"/>
                <a:gd name="connsiteX146" fmla="*/ 770824 w 2279787"/>
                <a:gd name="connsiteY146" fmla="*/ 931736 h 1980857"/>
                <a:gd name="connsiteX147" fmla="*/ 837052 w 2279787"/>
                <a:gd name="connsiteY147" fmla="*/ 1089014 h 1980857"/>
                <a:gd name="connsiteX148" fmla="*/ 844246 w 2279787"/>
                <a:gd name="connsiteY148" fmla="*/ 1139261 h 1980857"/>
                <a:gd name="connsiteX149" fmla="*/ 802208 w 2279787"/>
                <a:gd name="connsiteY149" fmla="*/ 1144725 h 198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2279787" h="1980857">
                  <a:moveTo>
                    <a:pt x="651960" y="1973397"/>
                  </a:moveTo>
                  <a:cubicBezTo>
                    <a:pt x="642761" y="1967576"/>
                    <a:pt x="639274" y="1961810"/>
                    <a:pt x="639274" y="1952392"/>
                  </a:cubicBezTo>
                  <a:cubicBezTo>
                    <a:pt x="639274" y="1933473"/>
                    <a:pt x="657122" y="1923342"/>
                    <a:pt x="690428" y="1923342"/>
                  </a:cubicBezTo>
                  <a:cubicBezTo>
                    <a:pt x="713163" y="1923342"/>
                    <a:pt x="716458" y="1922326"/>
                    <a:pt x="718709" y="1914610"/>
                  </a:cubicBezTo>
                  <a:cubicBezTo>
                    <a:pt x="720082" y="1909833"/>
                    <a:pt x="726699" y="1884983"/>
                    <a:pt x="733399" y="1859420"/>
                  </a:cubicBezTo>
                  <a:cubicBezTo>
                    <a:pt x="748995" y="1799920"/>
                    <a:pt x="753663" y="1788580"/>
                    <a:pt x="764591" y="1783884"/>
                  </a:cubicBezTo>
                  <a:cubicBezTo>
                    <a:pt x="779144" y="1777624"/>
                    <a:pt x="797540" y="1779464"/>
                    <a:pt x="808496" y="1788278"/>
                  </a:cubicBezTo>
                  <a:cubicBezTo>
                    <a:pt x="817365" y="1795417"/>
                    <a:pt x="818381" y="1799453"/>
                    <a:pt x="815909" y="1818289"/>
                  </a:cubicBezTo>
                  <a:cubicBezTo>
                    <a:pt x="814317" y="1830260"/>
                    <a:pt x="807837" y="1858789"/>
                    <a:pt x="801439" y="1881689"/>
                  </a:cubicBezTo>
                  <a:lnTo>
                    <a:pt x="789852" y="1923342"/>
                  </a:lnTo>
                  <a:lnTo>
                    <a:pt x="827771" y="1923342"/>
                  </a:lnTo>
                  <a:cubicBezTo>
                    <a:pt x="848639" y="1923342"/>
                    <a:pt x="865718" y="1922024"/>
                    <a:pt x="865718" y="1920432"/>
                  </a:cubicBezTo>
                  <a:cubicBezTo>
                    <a:pt x="865772" y="1910546"/>
                    <a:pt x="1106631" y="1020342"/>
                    <a:pt x="1111052" y="1013725"/>
                  </a:cubicBezTo>
                  <a:cubicBezTo>
                    <a:pt x="1123078" y="995658"/>
                    <a:pt x="1161354" y="998486"/>
                    <a:pt x="1171321" y="1018201"/>
                  </a:cubicBezTo>
                  <a:cubicBezTo>
                    <a:pt x="1174808" y="1025037"/>
                    <a:pt x="1231234" y="1231052"/>
                    <a:pt x="1296720" y="1476029"/>
                  </a:cubicBezTo>
                  <a:cubicBezTo>
                    <a:pt x="1362207" y="1720979"/>
                    <a:pt x="1416408" y="1921914"/>
                    <a:pt x="1417149" y="1922546"/>
                  </a:cubicBezTo>
                  <a:cubicBezTo>
                    <a:pt x="1417918" y="1923177"/>
                    <a:pt x="1434667" y="1923177"/>
                    <a:pt x="1454355" y="1922546"/>
                  </a:cubicBezTo>
                  <a:lnTo>
                    <a:pt x="1490214" y="1921392"/>
                  </a:lnTo>
                  <a:lnTo>
                    <a:pt x="1407045" y="1611560"/>
                  </a:lnTo>
                  <a:cubicBezTo>
                    <a:pt x="1361328" y="1441158"/>
                    <a:pt x="1323766" y="1296072"/>
                    <a:pt x="1323629" y="1289152"/>
                  </a:cubicBezTo>
                  <a:cubicBezTo>
                    <a:pt x="1323464" y="1281492"/>
                    <a:pt x="1327143" y="1273529"/>
                    <a:pt x="1332992" y="1268834"/>
                  </a:cubicBezTo>
                  <a:cubicBezTo>
                    <a:pt x="1345293" y="1258949"/>
                    <a:pt x="1372037" y="1258565"/>
                    <a:pt x="1382800" y="1268148"/>
                  </a:cubicBezTo>
                  <a:cubicBezTo>
                    <a:pt x="1388099" y="1272843"/>
                    <a:pt x="1418824" y="1380174"/>
                    <a:pt x="1475058" y="1590555"/>
                  </a:cubicBezTo>
                  <a:cubicBezTo>
                    <a:pt x="1521434" y="1764005"/>
                    <a:pt x="1560506" y="1909833"/>
                    <a:pt x="1561879" y="1914610"/>
                  </a:cubicBezTo>
                  <a:cubicBezTo>
                    <a:pt x="1564213" y="1922628"/>
                    <a:pt x="1567123" y="1923342"/>
                    <a:pt x="1598260" y="1923342"/>
                  </a:cubicBezTo>
                  <a:cubicBezTo>
                    <a:pt x="1627777" y="1923342"/>
                    <a:pt x="1633625" y="1924550"/>
                    <a:pt x="1643950" y="1932842"/>
                  </a:cubicBezTo>
                  <a:cubicBezTo>
                    <a:pt x="1650430" y="1938059"/>
                    <a:pt x="1655756" y="1946873"/>
                    <a:pt x="1655756" y="1952392"/>
                  </a:cubicBezTo>
                  <a:cubicBezTo>
                    <a:pt x="1655756" y="1957911"/>
                    <a:pt x="1650430" y="1966698"/>
                    <a:pt x="1643950" y="1971915"/>
                  </a:cubicBezTo>
                  <a:lnTo>
                    <a:pt x="1632115" y="1981414"/>
                  </a:lnTo>
                  <a:lnTo>
                    <a:pt x="1148394" y="1981414"/>
                  </a:lnTo>
                  <a:cubicBezTo>
                    <a:pt x="666320" y="1981414"/>
                    <a:pt x="664618" y="1981387"/>
                    <a:pt x="651960" y="1973397"/>
                  </a:cubicBezTo>
                  <a:close/>
                  <a:moveTo>
                    <a:pt x="1340295" y="1914610"/>
                  </a:moveTo>
                  <a:cubicBezTo>
                    <a:pt x="1338895" y="1909833"/>
                    <a:pt x="1326896" y="1865049"/>
                    <a:pt x="1313607" y="1815131"/>
                  </a:cubicBezTo>
                  <a:cubicBezTo>
                    <a:pt x="1300317" y="1765213"/>
                    <a:pt x="1288675" y="1723752"/>
                    <a:pt x="1287769" y="1723038"/>
                  </a:cubicBezTo>
                  <a:cubicBezTo>
                    <a:pt x="1286863" y="1722297"/>
                    <a:pt x="1210146" y="1756839"/>
                    <a:pt x="1117312" y="1799782"/>
                  </a:cubicBezTo>
                  <a:lnTo>
                    <a:pt x="948502" y="1877844"/>
                  </a:lnTo>
                  <a:lnTo>
                    <a:pt x="945262" y="1895280"/>
                  </a:lnTo>
                  <a:cubicBezTo>
                    <a:pt x="943478" y="1904863"/>
                    <a:pt x="940869" y="1915105"/>
                    <a:pt x="939469" y="1918015"/>
                  </a:cubicBezTo>
                  <a:cubicBezTo>
                    <a:pt x="937354" y="1922463"/>
                    <a:pt x="969864" y="1923342"/>
                    <a:pt x="1139882" y="1923342"/>
                  </a:cubicBezTo>
                  <a:lnTo>
                    <a:pt x="1342821" y="1923342"/>
                  </a:lnTo>
                  <a:close/>
                  <a:moveTo>
                    <a:pt x="1141694" y="1722104"/>
                  </a:moveTo>
                  <a:cubicBezTo>
                    <a:pt x="1199218" y="1695553"/>
                    <a:pt x="1246226" y="1672901"/>
                    <a:pt x="1246143" y="1671748"/>
                  </a:cubicBezTo>
                  <a:cubicBezTo>
                    <a:pt x="1245924" y="1668589"/>
                    <a:pt x="1042847" y="1543383"/>
                    <a:pt x="1040705" y="1545113"/>
                  </a:cubicBezTo>
                  <a:cubicBezTo>
                    <a:pt x="1039030" y="1546458"/>
                    <a:pt x="971676" y="1793193"/>
                    <a:pt x="971676" y="1797970"/>
                  </a:cubicBezTo>
                  <a:cubicBezTo>
                    <a:pt x="971676" y="1800222"/>
                    <a:pt x="991666" y="1791325"/>
                    <a:pt x="1141694" y="1722104"/>
                  </a:cubicBezTo>
                  <a:close/>
                  <a:moveTo>
                    <a:pt x="1230602" y="1503789"/>
                  </a:moveTo>
                  <a:cubicBezTo>
                    <a:pt x="1216709" y="1451263"/>
                    <a:pt x="1203694" y="1408264"/>
                    <a:pt x="1201662" y="1408264"/>
                  </a:cubicBezTo>
                  <a:cubicBezTo>
                    <a:pt x="1195978" y="1408236"/>
                    <a:pt x="1080079" y="1486299"/>
                    <a:pt x="1080079" y="1490170"/>
                  </a:cubicBezTo>
                  <a:cubicBezTo>
                    <a:pt x="1080079" y="1493684"/>
                    <a:pt x="1252074" y="1602390"/>
                    <a:pt x="1254518" y="1600412"/>
                  </a:cubicBezTo>
                  <a:cubicBezTo>
                    <a:pt x="1255287" y="1599809"/>
                    <a:pt x="1244523" y="1556343"/>
                    <a:pt x="1230602" y="1503789"/>
                  </a:cubicBezTo>
                  <a:close/>
                  <a:moveTo>
                    <a:pt x="1134363" y="1375754"/>
                  </a:moveTo>
                  <a:lnTo>
                    <a:pt x="1186944" y="1341322"/>
                  </a:lnTo>
                  <a:lnTo>
                    <a:pt x="1175824" y="1300246"/>
                  </a:lnTo>
                  <a:cubicBezTo>
                    <a:pt x="1169701" y="1277620"/>
                    <a:pt x="1159871" y="1240415"/>
                    <a:pt x="1153940" y="1217516"/>
                  </a:cubicBezTo>
                  <a:cubicBezTo>
                    <a:pt x="1148009" y="1194616"/>
                    <a:pt x="1141996" y="1175863"/>
                    <a:pt x="1140541" y="1175863"/>
                  </a:cubicBezTo>
                  <a:cubicBezTo>
                    <a:pt x="1139086" y="1175863"/>
                    <a:pt x="1123627" y="1229075"/>
                    <a:pt x="1106192" y="1294095"/>
                  </a:cubicBezTo>
                  <a:cubicBezTo>
                    <a:pt x="1088783" y="1359114"/>
                    <a:pt x="1076153" y="1411833"/>
                    <a:pt x="1078157" y="1411257"/>
                  </a:cubicBezTo>
                  <a:cubicBezTo>
                    <a:pt x="1080162" y="1410653"/>
                    <a:pt x="1105450" y="1394700"/>
                    <a:pt x="1134363" y="1375754"/>
                  </a:cubicBezTo>
                  <a:close/>
                  <a:moveTo>
                    <a:pt x="792516" y="1707415"/>
                  </a:moveTo>
                  <a:cubicBezTo>
                    <a:pt x="788534" y="1703681"/>
                    <a:pt x="783729" y="1698464"/>
                    <a:pt x="781807" y="1695773"/>
                  </a:cubicBezTo>
                  <a:cubicBezTo>
                    <a:pt x="776563" y="1688359"/>
                    <a:pt x="984609" y="914109"/>
                    <a:pt x="997432" y="893405"/>
                  </a:cubicBezTo>
                  <a:cubicBezTo>
                    <a:pt x="1004983" y="881187"/>
                    <a:pt x="1014126" y="873663"/>
                    <a:pt x="1029173" y="867266"/>
                  </a:cubicBezTo>
                  <a:cubicBezTo>
                    <a:pt x="1049052" y="858809"/>
                    <a:pt x="1055450" y="858287"/>
                    <a:pt x="1140294" y="858287"/>
                  </a:cubicBezTo>
                  <a:cubicBezTo>
                    <a:pt x="1225138" y="858287"/>
                    <a:pt x="1231536" y="858809"/>
                    <a:pt x="1251415" y="867266"/>
                  </a:cubicBezTo>
                  <a:cubicBezTo>
                    <a:pt x="1266489" y="873663"/>
                    <a:pt x="1275578" y="881187"/>
                    <a:pt x="1283129" y="893405"/>
                  </a:cubicBezTo>
                  <a:cubicBezTo>
                    <a:pt x="1289307" y="903400"/>
                    <a:pt x="1308280" y="965262"/>
                    <a:pt x="1328571" y="1041485"/>
                  </a:cubicBezTo>
                  <a:lnTo>
                    <a:pt x="1363415" y="1172375"/>
                  </a:lnTo>
                  <a:lnTo>
                    <a:pt x="1353750" y="1182837"/>
                  </a:lnTo>
                  <a:cubicBezTo>
                    <a:pt x="1347133" y="1190003"/>
                    <a:pt x="1338868" y="1193655"/>
                    <a:pt x="1327555" y="1194451"/>
                  </a:cubicBezTo>
                  <a:cubicBezTo>
                    <a:pt x="1297214" y="1196566"/>
                    <a:pt x="1294277" y="1190662"/>
                    <a:pt x="1258554" y="1055818"/>
                  </a:cubicBezTo>
                  <a:cubicBezTo>
                    <a:pt x="1240762" y="988711"/>
                    <a:pt x="1225083" y="929897"/>
                    <a:pt x="1223683" y="925092"/>
                  </a:cubicBezTo>
                  <a:cubicBezTo>
                    <a:pt x="1221184" y="916497"/>
                    <a:pt x="1220196" y="916387"/>
                    <a:pt x="1139772" y="916387"/>
                  </a:cubicBezTo>
                  <a:cubicBezTo>
                    <a:pt x="1095016" y="916387"/>
                    <a:pt x="1058388" y="917211"/>
                    <a:pt x="1058388" y="918200"/>
                  </a:cubicBezTo>
                  <a:cubicBezTo>
                    <a:pt x="1058388" y="921605"/>
                    <a:pt x="855695" y="1677322"/>
                    <a:pt x="850890" y="1691874"/>
                  </a:cubicBezTo>
                  <a:cubicBezTo>
                    <a:pt x="848254" y="1699809"/>
                    <a:pt x="841994" y="1708102"/>
                    <a:pt x="836942" y="1710270"/>
                  </a:cubicBezTo>
                  <a:cubicBezTo>
                    <a:pt x="822801" y="1716339"/>
                    <a:pt x="800533" y="1714938"/>
                    <a:pt x="792516" y="1707415"/>
                  </a:cubicBezTo>
                  <a:close/>
                  <a:moveTo>
                    <a:pt x="391167" y="1610132"/>
                  </a:moveTo>
                  <a:cubicBezTo>
                    <a:pt x="370107" y="1599644"/>
                    <a:pt x="275570" y="1520099"/>
                    <a:pt x="238338" y="1481576"/>
                  </a:cubicBezTo>
                  <a:cubicBezTo>
                    <a:pt x="121808" y="1360927"/>
                    <a:pt x="47677" y="1224023"/>
                    <a:pt x="12013" y="1063561"/>
                  </a:cubicBezTo>
                  <a:cubicBezTo>
                    <a:pt x="-2535" y="998101"/>
                    <a:pt x="-3737" y="849391"/>
                    <a:pt x="9725" y="780967"/>
                  </a:cubicBezTo>
                  <a:cubicBezTo>
                    <a:pt x="68586" y="481870"/>
                    <a:pt x="299678" y="227256"/>
                    <a:pt x="632053" y="95239"/>
                  </a:cubicBezTo>
                  <a:cubicBezTo>
                    <a:pt x="743257" y="51060"/>
                    <a:pt x="855531" y="22751"/>
                    <a:pt x="978898" y="7786"/>
                  </a:cubicBezTo>
                  <a:cubicBezTo>
                    <a:pt x="1057207" y="-1714"/>
                    <a:pt x="1220965" y="-1878"/>
                    <a:pt x="1299549" y="7457"/>
                  </a:cubicBezTo>
                  <a:cubicBezTo>
                    <a:pt x="1548342" y="37029"/>
                    <a:pt x="1770255" y="126184"/>
                    <a:pt x="1946698" y="267426"/>
                  </a:cubicBezTo>
                  <a:cubicBezTo>
                    <a:pt x="2120148" y="406307"/>
                    <a:pt x="2232147" y="583738"/>
                    <a:pt x="2270835" y="780967"/>
                  </a:cubicBezTo>
                  <a:cubicBezTo>
                    <a:pt x="2283246" y="844201"/>
                    <a:pt x="2283191" y="993900"/>
                    <a:pt x="2270753" y="1053868"/>
                  </a:cubicBezTo>
                  <a:cubicBezTo>
                    <a:pt x="2238215" y="1210761"/>
                    <a:pt x="2167018" y="1346731"/>
                    <a:pt x="2052739" y="1470209"/>
                  </a:cubicBezTo>
                  <a:cubicBezTo>
                    <a:pt x="2006006" y="1520703"/>
                    <a:pt x="1894913" y="1612054"/>
                    <a:pt x="1875747" y="1615761"/>
                  </a:cubicBezTo>
                  <a:cubicBezTo>
                    <a:pt x="1855950" y="1619578"/>
                    <a:pt x="1836867" y="1607222"/>
                    <a:pt x="1834973" y="1589375"/>
                  </a:cubicBezTo>
                  <a:cubicBezTo>
                    <a:pt x="1833600" y="1576579"/>
                    <a:pt x="1836702" y="1573202"/>
                    <a:pt x="1882474" y="1537479"/>
                  </a:cubicBezTo>
                  <a:cubicBezTo>
                    <a:pt x="1975775" y="1464661"/>
                    <a:pt x="2042662" y="1390279"/>
                    <a:pt x="2101504" y="1293985"/>
                  </a:cubicBezTo>
                  <a:cubicBezTo>
                    <a:pt x="2225118" y="1091622"/>
                    <a:pt x="2244366" y="864026"/>
                    <a:pt x="2156144" y="647220"/>
                  </a:cubicBezTo>
                  <a:cubicBezTo>
                    <a:pt x="2043678" y="370831"/>
                    <a:pt x="1755428" y="154246"/>
                    <a:pt x="1405919" y="83542"/>
                  </a:cubicBezTo>
                  <a:cubicBezTo>
                    <a:pt x="1327198" y="67617"/>
                    <a:pt x="1265281" y="60642"/>
                    <a:pt x="1178844" y="57924"/>
                  </a:cubicBezTo>
                  <a:cubicBezTo>
                    <a:pt x="704102" y="43015"/>
                    <a:pt x="272083" y="284642"/>
                    <a:pt x="124251" y="647742"/>
                  </a:cubicBezTo>
                  <a:cubicBezTo>
                    <a:pt x="86030" y="741647"/>
                    <a:pt x="70901" y="818336"/>
                    <a:pt x="70901" y="918337"/>
                  </a:cubicBezTo>
                  <a:cubicBezTo>
                    <a:pt x="70901" y="1054362"/>
                    <a:pt x="104976" y="1172622"/>
                    <a:pt x="179112" y="1293985"/>
                  </a:cubicBezTo>
                  <a:cubicBezTo>
                    <a:pt x="237871" y="1390169"/>
                    <a:pt x="304840" y="1464661"/>
                    <a:pt x="397867" y="1537287"/>
                  </a:cubicBezTo>
                  <a:cubicBezTo>
                    <a:pt x="440563" y="1570593"/>
                    <a:pt x="446577" y="1576909"/>
                    <a:pt x="446577" y="1588304"/>
                  </a:cubicBezTo>
                  <a:cubicBezTo>
                    <a:pt x="446577" y="1597749"/>
                    <a:pt x="443117" y="1603515"/>
                    <a:pt x="433891" y="1609364"/>
                  </a:cubicBezTo>
                  <a:cubicBezTo>
                    <a:pt x="418268" y="1619248"/>
                    <a:pt x="409756" y="1619386"/>
                    <a:pt x="391194" y="1610132"/>
                  </a:cubicBezTo>
                  <a:close/>
                  <a:moveTo>
                    <a:pt x="628758" y="1439593"/>
                  </a:moveTo>
                  <a:cubicBezTo>
                    <a:pt x="526725" y="1373393"/>
                    <a:pt x="456297" y="1303623"/>
                    <a:pt x="399652" y="1212656"/>
                  </a:cubicBezTo>
                  <a:cubicBezTo>
                    <a:pt x="339986" y="1116828"/>
                    <a:pt x="314258" y="1026273"/>
                    <a:pt x="314917" y="914466"/>
                  </a:cubicBezTo>
                  <a:cubicBezTo>
                    <a:pt x="315384" y="835140"/>
                    <a:pt x="326449" y="778962"/>
                    <a:pt x="355335" y="709467"/>
                  </a:cubicBezTo>
                  <a:cubicBezTo>
                    <a:pt x="426642" y="537939"/>
                    <a:pt x="570932" y="404330"/>
                    <a:pt x="771757" y="323824"/>
                  </a:cubicBezTo>
                  <a:cubicBezTo>
                    <a:pt x="844795" y="294554"/>
                    <a:pt x="901522" y="278354"/>
                    <a:pt x="978129" y="264900"/>
                  </a:cubicBezTo>
                  <a:cubicBezTo>
                    <a:pt x="1020963" y="257377"/>
                    <a:pt x="1041254" y="256306"/>
                    <a:pt x="1140294" y="256306"/>
                  </a:cubicBezTo>
                  <a:cubicBezTo>
                    <a:pt x="1240048" y="256306"/>
                    <a:pt x="1259515" y="257349"/>
                    <a:pt x="1304079" y="265120"/>
                  </a:cubicBezTo>
                  <a:cubicBezTo>
                    <a:pt x="1442657" y="289255"/>
                    <a:pt x="1563938" y="336482"/>
                    <a:pt x="1671517" y="408147"/>
                  </a:cubicBezTo>
                  <a:cubicBezTo>
                    <a:pt x="1722725" y="442276"/>
                    <a:pt x="1729453" y="454715"/>
                    <a:pt x="1706553" y="473111"/>
                  </a:cubicBezTo>
                  <a:cubicBezTo>
                    <a:pt x="1687937" y="488103"/>
                    <a:pt x="1675251" y="485357"/>
                    <a:pt x="1633378" y="457186"/>
                  </a:cubicBezTo>
                  <a:cubicBezTo>
                    <a:pt x="1539995" y="394390"/>
                    <a:pt x="1437990" y="351749"/>
                    <a:pt x="1329615" y="330167"/>
                  </a:cubicBezTo>
                  <a:cubicBezTo>
                    <a:pt x="1267341" y="317756"/>
                    <a:pt x="1253529" y="315971"/>
                    <a:pt x="1192106" y="312319"/>
                  </a:cubicBezTo>
                  <a:cubicBezTo>
                    <a:pt x="824311" y="290436"/>
                    <a:pt x="487873" y="491288"/>
                    <a:pt x="404100" y="782779"/>
                  </a:cubicBezTo>
                  <a:cubicBezTo>
                    <a:pt x="357477" y="944888"/>
                    <a:pt x="398498" y="1117707"/>
                    <a:pt x="517417" y="1260212"/>
                  </a:cubicBezTo>
                  <a:cubicBezTo>
                    <a:pt x="549817" y="1299065"/>
                    <a:pt x="614974" y="1355298"/>
                    <a:pt x="671784" y="1393519"/>
                  </a:cubicBezTo>
                  <a:cubicBezTo>
                    <a:pt x="707177" y="1417298"/>
                    <a:pt x="711543" y="1421691"/>
                    <a:pt x="711543" y="1433332"/>
                  </a:cubicBezTo>
                  <a:cubicBezTo>
                    <a:pt x="711543" y="1448242"/>
                    <a:pt x="693750" y="1462465"/>
                    <a:pt x="675079" y="1462465"/>
                  </a:cubicBezTo>
                  <a:cubicBezTo>
                    <a:pt x="668736" y="1462465"/>
                    <a:pt x="648884" y="1452663"/>
                    <a:pt x="628758" y="1439593"/>
                  </a:cubicBezTo>
                  <a:close/>
                  <a:moveTo>
                    <a:pt x="1581731" y="1454448"/>
                  </a:moveTo>
                  <a:cubicBezTo>
                    <a:pt x="1572505" y="1448599"/>
                    <a:pt x="1569045" y="1442861"/>
                    <a:pt x="1569045" y="1433332"/>
                  </a:cubicBezTo>
                  <a:cubicBezTo>
                    <a:pt x="1569045" y="1421691"/>
                    <a:pt x="1573411" y="1417324"/>
                    <a:pt x="1608831" y="1393546"/>
                  </a:cubicBezTo>
                  <a:cubicBezTo>
                    <a:pt x="1731238" y="1311338"/>
                    <a:pt x="1810892" y="1218559"/>
                    <a:pt x="1857707" y="1103566"/>
                  </a:cubicBezTo>
                  <a:cubicBezTo>
                    <a:pt x="1885165" y="1036158"/>
                    <a:pt x="1893622" y="992033"/>
                    <a:pt x="1893622" y="916387"/>
                  </a:cubicBezTo>
                  <a:cubicBezTo>
                    <a:pt x="1893622" y="871961"/>
                    <a:pt x="1890986" y="840687"/>
                    <a:pt x="1885000" y="813751"/>
                  </a:cubicBezTo>
                  <a:cubicBezTo>
                    <a:pt x="1867867" y="736815"/>
                    <a:pt x="1825994" y="652245"/>
                    <a:pt x="1770749" y="582942"/>
                  </a:cubicBezTo>
                  <a:cubicBezTo>
                    <a:pt x="1757844" y="566742"/>
                    <a:pt x="1747300" y="550157"/>
                    <a:pt x="1747300" y="546039"/>
                  </a:cubicBezTo>
                  <a:cubicBezTo>
                    <a:pt x="1747300" y="525418"/>
                    <a:pt x="1780744" y="511387"/>
                    <a:pt x="1802517" y="522837"/>
                  </a:cubicBezTo>
                  <a:cubicBezTo>
                    <a:pt x="1817207" y="530580"/>
                    <a:pt x="1863583" y="590658"/>
                    <a:pt x="1889558" y="635606"/>
                  </a:cubicBezTo>
                  <a:cubicBezTo>
                    <a:pt x="2051531" y="915976"/>
                    <a:pt x="1953782" y="1247060"/>
                    <a:pt x="1652132" y="1439758"/>
                  </a:cubicBezTo>
                  <a:cubicBezTo>
                    <a:pt x="1613582" y="1464387"/>
                    <a:pt x="1601472" y="1466913"/>
                    <a:pt x="1581731" y="1454448"/>
                  </a:cubicBezTo>
                  <a:close/>
                  <a:moveTo>
                    <a:pt x="802208" y="1144725"/>
                  </a:moveTo>
                  <a:cubicBezTo>
                    <a:pt x="790703" y="1139343"/>
                    <a:pt x="752290" y="1091787"/>
                    <a:pt x="735761" y="1062490"/>
                  </a:cubicBezTo>
                  <a:cubicBezTo>
                    <a:pt x="708852" y="1014768"/>
                    <a:pt x="700065" y="978634"/>
                    <a:pt x="700230" y="916387"/>
                  </a:cubicBezTo>
                  <a:cubicBezTo>
                    <a:pt x="700395" y="851176"/>
                    <a:pt x="709017" y="818886"/>
                    <a:pt x="740291" y="766277"/>
                  </a:cubicBezTo>
                  <a:cubicBezTo>
                    <a:pt x="763493" y="727287"/>
                    <a:pt x="780626" y="706886"/>
                    <a:pt x="816184" y="676023"/>
                  </a:cubicBezTo>
                  <a:cubicBezTo>
                    <a:pt x="1008744" y="508834"/>
                    <a:pt x="1345540" y="528960"/>
                    <a:pt x="1506744" y="717320"/>
                  </a:cubicBezTo>
                  <a:cubicBezTo>
                    <a:pt x="1528847" y="743130"/>
                    <a:pt x="1558227" y="795546"/>
                    <a:pt x="1569979" y="830088"/>
                  </a:cubicBezTo>
                  <a:cubicBezTo>
                    <a:pt x="1584998" y="874322"/>
                    <a:pt x="1584861" y="959496"/>
                    <a:pt x="1569677" y="1005103"/>
                  </a:cubicBezTo>
                  <a:cubicBezTo>
                    <a:pt x="1556113" y="1045850"/>
                    <a:pt x="1537194" y="1079596"/>
                    <a:pt x="1508583" y="1114192"/>
                  </a:cubicBezTo>
                  <a:cubicBezTo>
                    <a:pt x="1477858" y="1151370"/>
                    <a:pt x="1459379" y="1157768"/>
                    <a:pt x="1436342" y="1139261"/>
                  </a:cubicBezTo>
                  <a:cubicBezTo>
                    <a:pt x="1420060" y="1126164"/>
                    <a:pt x="1421460" y="1116307"/>
                    <a:pt x="1443536" y="1089014"/>
                  </a:cubicBezTo>
                  <a:cubicBezTo>
                    <a:pt x="1486123" y="1036322"/>
                    <a:pt x="1505371" y="990606"/>
                    <a:pt x="1509764" y="931736"/>
                  </a:cubicBezTo>
                  <a:cubicBezTo>
                    <a:pt x="1519539" y="801038"/>
                    <a:pt x="1414871" y="677341"/>
                    <a:pt x="1259268" y="635661"/>
                  </a:cubicBezTo>
                  <a:cubicBezTo>
                    <a:pt x="1179201" y="614216"/>
                    <a:pt x="1101386" y="614216"/>
                    <a:pt x="1021320" y="635661"/>
                  </a:cubicBezTo>
                  <a:cubicBezTo>
                    <a:pt x="865525" y="677396"/>
                    <a:pt x="761049" y="800901"/>
                    <a:pt x="770824" y="931736"/>
                  </a:cubicBezTo>
                  <a:cubicBezTo>
                    <a:pt x="775217" y="990606"/>
                    <a:pt x="794492" y="1036322"/>
                    <a:pt x="837052" y="1089014"/>
                  </a:cubicBezTo>
                  <a:cubicBezTo>
                    <a:pt x="859128" y="1116307"/>
                    <a:pt x="860528" y="1126164"/>
                    <a:pt x="844246" y="1139261"/>
                  </a:cubicBezTo>
                  <a:cubicBezTo>
                    <a:pt x="831917" y="1149146"/>
                    <a:pt x="816047" y="1151233"/>
                    <a:pt x="802208" y="1144725"/>
                  </a:cubicBezTo>
                  <a:close/>
                </a:path>
              </a:pathLst>
            </a:custGeom>
            <a:solidFill>
              <a:schemeClr val="bg1"/>
            </a:solidFill>
            <a:ln w="4312" cap="flat">
              <a:noFill/>
              <a:prstDash val="solid"/>
              <a:miter/>
            </a:ln>
          </p:spPr>
          <p:txBody>
            <a:bodyPr rtlCol="0" anchor="ctr"/>
            <a:lstStyle/>
            <a:p>
              <a:endParaRPr lang="en-IN"/>
            </a:p>
          </p:txBody>
        </p:sp>
      </p:grpSp>
      <p:grpSp>
        <p:nvGrpSpPr>
          <p:cNvPr id="61" name="Group 60">
            <a:extLst>
              <a:ext uri="{FF2B5EF4-FFF2-40B4-BE49-F238E27FC236}">
                <a16:creationId xmlns:a16="http://schemas.microsoft.com/office/drawing/2014/main" id="{89F038C5-3C5B-40C6-9858-2A5A9B69AD18}"/>
              </a:ext>
            </a:extLst>
          </p:cNvPr>
          <p:cNvGrpSpPr/>
          <p:nvPr/>
        </p:nvGrpSpPr>
        <p:grpSpPr>
          <a:xfrm>
            <a:off x="3305172" y="2324963"/>
            <a:ext cx="731520" cy="731520"/>
            <a:chOff x="3267848" y="2278308"/>
            <a:chExt cx="822960" cy="822960"/>
          </a:xfrm>
        </p:grpSpPr>
        <p:sp>
          <p:nvSpPr>
            <p:cNvPr id="36" name="Oval 35">
              <a:extLst>
                <a:ext uri="{FF2B5EF4-FFF2-40B4-BE49-F238E27FC236}">
                  <a16:creationId xmlns:a16="http://schemas.microsoft.com/office/drawing/2014/main" id="{9521AC15-D8CF-4FC5-9D92-BCCCAD930C36}"/>
                </a:ext>
              </a:extLst>
            </p:cNvPr>
            <p:cNvSpPr/>
            <p:nvPr/>
          </p:nvSpPr>
          <p:spPr>
            <a:xfrm flipH="1">
              <a:off x="3267848" y="2278308"/>
              <a:ext cx="822960" cy="822960"/>
            </a:xfrm>
            <a:prstGeom prst="ellipse">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eaLnBrk="1" fontAlgn="auto" hangingPunct="1">
                <a:spcBef>
                  <a:spcPts val="0"/>
                </a:spcBef>
                <a:spcAft>
                  <a:spcPts val="0"/>
                </a:spcAft>
              </a:pPr>
              <a:endParaRPr lang="en-US" sz="975" b="1" dirty="0">
                <a:solidFill>
                  <a:prstClr val="white"/>
                </a:solidFill>
                <a:latin typeface="Calibri" panose="020F0502020204030204"/>
              </a:endParaRPr>
            </a:p>
          </p:txBody>
        </p:sp>
        <p:sp>
          <p:nvSpPr>
            <p:cNvPr id="14" name="Freeform: Shape 13">
              <a:extLst>
                <a:ext uri="{FF2B5EF4-FFF2-40B4-BE49-F238E27FC236}">
                  <a16:creationId xmlns:a16="http://schemas.microsoft.com/office/drawing/2014/main" id="{CB130B95-FEF1-49C7-9997-45CDADDA19B4}"/>
                </a:ext>
              </a:extLst>
            </p:cNvPr>
            <p:cNvSpPr/>
            <p:nvPr/>
          </p:nvSpPr>
          <p:spPr>
            <a:xfrm>
              <a:off x="3450728" y="2461188"/>
              <a:ext cx="457200" cy="457200"/>
            </a:xfrm>
            <a:custGeom>
              <a:avLst/>
              <a:gdLst>
                <a:gd name="connsiteX0" fmla="*/ 66338 w 1670028"/>
                <a:gd name="connsiteY0" fmla="*/ 1665042 h 1672942"/>
                <a:gd name="connsiteX1" fmla="*/ 6041 w 1670028"/>
                <a:gd name="connsiteY1" fmla="*/ 1614547 h 1672942"/>
                <a:gd name="connsiteX2" fmla="*/ 6288 w 1670028"/>
                <a:gd name="connsiteY2" fmla="*/ 57781 h 1672942"/>
                <a:gd name="connsiteX3" fmla="*/ 77925 w 1670028"/>
                <a:gd name="connsiteY3" fmla="*/ 3882 h 1672942"/>
                <a:gd name="connsiteX4" fmla="*/ 613459 w 1670028"/>
                <a:gd name="connsiteY4" fmla="*/ 587 h 1672942"/>
                <a:gd name="connsiteX5" fmla="*/ 1144435 w 1670028"/>
                <a:gd name="connsiteY5" fmla="*/ 8055 h 1672942"/>
                <a:gd name="connsiteX6" fmla="*/ 1656465 w 1670028"/>
                <a:gd name="connsiteY6" fmla="*/ 400782 h 1672942"/>
                <a:gd name="connsiteX7" fmla="*/ 1668629 w 1670028"/>
                <a:gd name="connsiteY7" fmla="*/ 416461 h 1672942"/>
                <a:gd name="connsiteX8" fmla="*/ 1669864 w 1670028"/>
                <a:gd name="connsiteY8" fmla="*/ 1009161 h 1672942"/>
                <a:gd name="connsiteX9" fmla="*/ 1663659 w 1670028"/>
                <a:gd name="connsiteY9" fmla="*/ 1617046 h 1672942"/>
                <a:gd name="connsiteX10" fmla="*/ 1605119 w 1670028"/>
                <a:gd name="connsiteY10" fmla="*/ 1665125 h 1672942"/>
                <a:gd name="connsiteX11" fmla="*/ 1582412 w 1670028"/>
                <a:gd name="connsiteY11" fmla="*/ 1673252 h 1672942"/>
                <a:gd name="connsiteX12" fmla="*/ 835838 w 1670028"/>
                <a:gd name="connsiteY12" fmla="*/ 1673252 h 1672942"/>
                <a:gd name="connsiteX13" fmla="*/ 89265 w 1670028"/>
                <a:gd name="connsiteY13" fmla="*/ 1673252 h 1672942"/>
                <a:gd name="connsiteX14" fmla="*/ 1587162 w 1670028"/>
                <a:gd name="connsiteY14" fmla="*/ 1608974 h 1672942"/>
                <a:gd name="connsiteX15" fmla="*/ 1598282 w 1670028"/>
                <a:gd name="connsiteY15" fmla="*/ 1600434 h 1672942"/>
                <a:gd name="connsiteX16" fmla="*/ 1598282 w 1670028"/>
                <a:gd name="connsiteY16" fmla="*/ 1015504 h 1672942"/>
                <a:gd name="connsiteX17" fmla="*/ 1598282 w 1670028"/>
                <a:gd name="connsiteY17" fmla="*/ 430574 h 1672942"/>
                <a:gd name="connsiteX18" fmla="*/ 1380461 w 1670028"/>
                <a:gd name="connsiteY18" fmla="*/ 263137 h 1672942"/>
                <a:gd name="connsiteX19" fmla="*/ 1162639 w 1670028"/>
                <a:gd name="connsiteY19" fmla="*/ 95728 h 1672942"/>
                <a:gd name="connsiteX20" fmla="*/ 1162612 w 1670028"/>
                <a:gd name="connsiteY20" fmla="*/ 234471 h 1672942"/>
                <a:gd name="connsiteX21" fmla="*/ 1162612 w 1670028"/>
                <a:gd name="connsiteY21" fmla="*/ 373215 h 1672942"/>
                <a:gd name="connsiteX22" fmla="*/ 1173732 w 1670028"/>
                <a:gd name="connsiteY22" fmla="*/ 381754 h 1672942"/>
                <a:gd name="connsiteX23" fmla="*/ 1184880 w 1670028"/>
                <a:gd name="connsiteY23" fmla="*/ 390321 h 1672942"/>
                <a:gd name="connsiteX24" fmla="*/ 1318983 w 1670028"/>
                <a:gd name="connsiteY24" fmla="*/ 390321 h 1672942"/>
                <a:gd name="connsiteX25" fmla="*/ 1453059 w 1670028"/>
                <a:gd name="connsiteY25" fmla="*/ 390321 h 1672942"/>
                <a:gd name="connsiteX26" fmla="*/ 1453059 w 1670028"/>
                <a:gd name="connsiteY26" fmla="*/ 418218 h 1672942"/>
                <a:gd name="connsiteX27" fmla="*/ 1453059 w 1670028"/>
                <a:gd name="connsiteY27" fmla="*/ 446115 h 1672942"/>
                <a:gd name="connsiteX28" fmla="*/ 1315771 w 1670028"/>
                <a:gd name="connsiteY28" fmla="*/ 446087 h 1672942"/>
                <a:gd name="connsiteX29" fmla="*/ 1155555 w 1670028"/>
                <a:gd name="connsiteY29" fmla="*/ 437823 h 1672942"/>
                <a:gd name="connsiteX30" fmla="*/ 1095258 w 1670028"/>
                <a:gd name="connsiteY30" fmla="*/ 387328 h 1672942"/>
                <a:gd name="connsiteX31" fmla="*/ 1089986 w 1670028"/>
                <a:gd name="connsiteY31" fmla="*/ 214729 h 1672942"/>
                <a:gd name="connsiteX32" fmla="*/ 1089986 w 1670028"/>
                <a:gd name="connsiteY32" fmla="*/ 55640 h 1672942"/>
                <a:gd name="connsiteX33" fmla="*/ 592838 w 1670028"/>
                <a:gd name="connsiteY33" fmla="*/ 55640 h 1672942"/>
                <a:gd name="connsiteX34" fmla="*/ 95663 w 1670028"/>
                <a:gd name="connsiteY34" fmla="*/ 55640 h 1672942"/>
                <a:gd name="connsiteX35" fmla="*/ 84542 w 1670028"/>
                <a:gd name="connsiteY35" fmla="*/ 64179 h 1672942"/>
                <a:gd name="connsiteX36" fmla="*/ 73394 w 1670028"/>
                <a:gd name="connsiteY36" fmla="*/ 72746 h 1672942"/>
                <a:gd name="connsiteX37" fmla="*/ 73394 w 1670028"/>
                <a:gd name="connsiteY37" fmla="*/ 836590 h 1672942"/>
                <a:gd name="connsiteX38" fmla="*/ 73394 w 1670028"/>
                <a:gd name="connsiteY38" fmla="*/ 1600434 h 1672942"/>
                <a:gd name="connsiteX39" fmla="*/ 84542 w 1670028"/>
                <a:gd name="connsiteY39" fmla="*/ 1609001 h 1672942"/>
                <a:gd name="connsiteX40" fmla="*/ 95663 w 1670028"/>
                <a:gd name="connsiteY40" fmla="*/ 1617540 h 1672942"/>
                <a:gd name="connsiteX41" fmla="*/ 835838 w 1670028"/>
                <a:gd name="connsiteY41" fmla="*/ 1617540 h 1672942"/>
                <a:gd name="connsiteX42" fmla="*/ 1576014 w 1670028"/>
                <a:gd name="connsiteY42" fmla="*/ 1617540 h 1672942"/>
                <a:gd name="connsiteX43" fmla="*/ 182319 w 1670028"/>
                <a:gd name="connsiteY43" fmla="*/ 1422317 h 1672942"/>
                <a:gd name="connsiteX44" fmla="*/ 182319 w 1670028"/>
                <a:gd name="connsiteY44" fmla="*/ 1394419 h 1672942"/>
                <a:gd name="connsiteX45" fmla="*/ 273094 w 1670028"/>
                <a:gd name="connsiteY45" fmla="*/ 1394419 h 1672942"/>
                <a:gd name="connsiteX46" fmla="*/ 363841 w 1670028"/>
                <a:gd name="connsiteY46" fmla="*/ 1394419 h 1672942"/>
                <a:gd name="connsiteX47" fmla="*/ 363841 w 1670028"/>
                <a:gd name="connsiteY47" fmla="*/ 1422317 h 1672942"/>
                <a:gd name="connsiteX48" fmla="*/ 363841 w 1670028"/>
                <a:gd name="connsiteY48" fmla="*/ 1450186 h 1672942"/>
                <a:gd name="connsiteX49" fmla="*/ 273094 w 1670028"/>
                <a:gd name="connsiteY49" fmla="*/ 1450186 h 1672942"/>
                <a:gd name="connsiteX50" fmla="*/ 182319 w 1670028"/>
                <a:gd name="connsiteY50" fmla="*/ 1450186 h 1672942"/>
                <a:gd name="connsiteX51" fmla="*/ 436467 w 1670028"/>
                <a:gd name="connsiteY51" fmla="*/ 1422317 h 1672942"/>
                <a:gd name="connsiteX52" fmla="*/ 436467 w 1670028"/>
                <a:gd name="connsiteY52" fmla="*/ 1394419 h 1672942"/>
                <a:gd name="connsiteX53" fmla="*/ 654316 w 1670028"/>
                <a:gd name="connsiteY53" fmla="*/ 1394419 h 1672942"/>
                <a:gd name="connsiteX54" fmla="*/ 872137 w 1670028"/>
                <a:gd name="connsiteY54" fmla="*/ 1394419 h 1672942"/>
                <a:gd name="connsiteX55" fmla="*/ 872137 w 1670028"/>
                <a:gd name="connsiteY55" fmla="*/ 1422317 h 1672942"/>
                <a:gd name="connsiteX56" fmla="*/ 872137 w 1670028"/>
                <a:gd name="connsiteY56" fmla="*/ 1450186 h 1672942"/>
                <a:gd name="connsiteX57" fmla="*/ 654316 w 1670028"/>
                <a:gd name="connsiteY57" fmla="*/ 1450186 h 1672942"/>
                <a:gd name="connsiteX58" fmla="*/ 436467 w 1670028"/>
                <a:gd name="connsiteY58" fmla="*/ 1450186 h 1672942"/>
                <a:gd name="connsiteX59" fmla="*/ 182319 w 1670028"/>
                <a:gd name="connsiteY59" fmla="*/ 1254962 h 1672942"/>
                <a:gd name="connsiteX60" fmla="*/ 182319 w 1670028"/>
                <a:gd name="connsiteY60" fmla="*/ 1227065 h 1672942"/>
                <a:gd name="connsiteX61" fmla="*/ 327542 w 1670028"/>
                <a:gd name="connsiteY61" fmla="*/ 1227065 h 1672942"/>
                <a:gd name="connsiteX62" fmla="*/ 472766 w 1670028"/>
                <a:gd name="connsiteY62" fmla="*/ 1227065 h 1672942"/>
                <a:gd name="connsiteX63" fmla="*/ 472766 w 1670028"/>
                <a:gd name="connsiteY63" fmla="*/ 1254962 h 1672942"/>
                <a:gd name="connsiteX64" fmla="*/ 472766 w 1670028"/>
                <a:gd name="connsiteY64" fmla="*/ 1282859 h 1672942"/>
                <a:gd name="connsiteX65" fmla="*/ 327542 w 1670028"/>
                <a:gd name="connsiteY65" fmla="*/ 1282859 h 1672942"/>
                <a:gd name="connsiteX66" fmla="*/ 182319 w 1670028"/>
                <a:gd name="connsiteY66" fmla="*/ 1282859 h 1672942"/>
                <a:gd name="connsiteX67" fmla="*/ 545391 w 1670028"/>
                <a:gd name="connsiteY67" fmla="*/ 1254962 h 1672942"/>
                <a:gd name="connsiteX68" fmla="*/ 545391 w 1670028"/>
                <a:gd name="connsiteY68" fmla="*/ 1227065 h 1672942"/>
                <a:gd name="connsiteX69" fmla="*/ 599840 w 1670028"/>
                <a:gd name="connsiteY69" fmla="*/ 1227065 h 1672942"/>
                <a:gd name="connsiteX70" fmla="*/ 654316 w 1670028"/>
                <a:gd name="connsiteY70" fmla="*/ 1227065 h 1672942"/>
                <a:gd name="connsiteX71" fmla="*/ 654316 w 1670028"/>
                <a:gd name="connsiteY71" fmla="*/ 1254962 h 1672942"/>
                <a:gd name="connsiteX72" fmla="*/ 654316 w 1670028"/>
                <a:gd name="connsiteY72" fmla="*/ 1282859 h 1672942"/>
                <a:gd name="connsiteX73" fmla="*/ 599840 w 1670028"/>
                <a:gd name="connsiteY73" fmla="*/ 1282859 h 1672942"/>
                <a:gd name="connsiteX74" fmla="*/ 545391 w 1670028"/>
                <a:gd name="connsiteY74" fmla="*/ 1282859 h 1672942"/>
                <a:gd name="connsiteX75" fmla="*/ 726914 w 1670028"/>
                <a:gd name="connsiteY75" fmla="*/ 1254962 h 1672942"/>
                <a:gd name="connsiteX76" fmla="*/ 726914 w 1670028"/>
                <a:gd name="connsiteY76" fmla="*/ 1227065 h 1672942"/>
                <a:gd name="connsiteX77" fmla="*/ 962912 w 1670028"/>
                <a:gd name="connsiteY77" fmla="*/ 1227065 h 1672942"/>
                <a:gd name="connsiteX78" fmla="*/ 1198911 w 1670028"/>
                <a:gd name="connsiteY78" fmla="*/ 1227065 h 1672942"/>
                <a:gd name="connsiteX79" fmla="*/ 1198911 w 1670028"/>
                <a:gd name="connsiteY79" fmla="*/ 1254962 h 1672942"/>
                <a:gd name="connsiteX80" fmla="*/ 1198911 w 1670028"/>
                <a:gd name="connsiteY80" fmla="*/ 1282859 h 1672942"/>
                <a:gd name="connsiteX81" fmla="*/ 962912 w 1670028"/>
                <a:gd name="connsiteY81" fmla="*/ 1282859 h 1672942"/>
                <a:gd name="connsiteX82" fmla="*/ 726914 w 1670028"/>
                <a:gd name="connsiteY82" fmla="*/ 1282859 h 1672942"/>
                <a:gd name="connsiteX83" fmla="*/ 1271536 w 1670028"/>
                <a:gd name="connsiteY83" fmla="*/ 1254962 h 1672942"/>
                <a:gd name="connsiteX84" fmla="*/ 1271536 w 1670028"/>
                <a:gd name="connsiteY84" fmla="*/ 1227065 h 1672942"/>
                <a:gd name="connsiteX85" fmla="*/ 1380461 w 1670028"/>
                <a:gd name="connsiteY85" fmla="*/ 1227065 h 1672942"/>
                <a:gd name="connsiteX86" fmla="*/ 1489358 w 1670028"/>
                <a:gd name="connsiteY86" fmla="*/ 1227065 h 1672942"/>
                <a:gd name="connsiteX87" fmla="*/ 1489358 w 1670028"/>
                <a:gd name="connsiteY87" fmla="*/ 1254962 h 1672942"/>
                <a:gd name="connsiteX88" fmla="*/ 1489358 w 1670028"/>
                <a:gd name="connsiteY88" fmla="*/ 1282859 h 1672942"/>
                <a:gd name="connsiteX89" fmla="*/ 1380461 w 1670028"/>
                <a:gd name="connsiteY89" fmla="*/ 1282859 h 1672942"/>
                <a:gd name="connsiteX90" fmla="*/ 1271536 w 1670028"/>
                <a:gd name="connsiteY90" fmla="*/ 1282859 h 1672942"/>
                <a:gd name="connsiteX91" fmla="*/ 182319 w 1670028"/>
                <a:gd name="connsiteY91" fmla="*/ 1087608 h 1672942"/>
                <a:gd name="connsiteX92" fmla="*/ 182319 w 1670028"/>
                <a:gd name="connsiteY92" fmla="*/ 1059711 h 1672942"/>
                <a:gd name="connsiteX93" fmla="*/ 254944 w 1670028"/>
                <a:gd name="connsiteY93" fmla="*/ 1059711 h 1672942"/>
                <a:gd name="connsiteX94" fmla="*/ 327542 w 1670028"/>
                <a:gd name="connsiteY94" fmla="*/ 1059711 h 1672942"/>
                <a:gd name="connsiteX95" fmla="*/ 327542 w 1670028"/>
                <a:gd name="connsiteY95" fmla="*/ 1087608 h 1672942"/>
                <a:gd name="connsiteX96" fmla="*/ 327542 w 1670028"/>
                <a:gd name="connsiteY96" fmla="*/ 1115505 h 1672942"/>
                <a:gd name="connsiteX97" fmla="*/ 254944 w 1670028"/>
                <a:gd name="connsiteY97" fmla="*/ 1115505 h 1672942"/>
                <a:gd name="connsiteX98" fmla="*/ 182319 w 1670028"/>
                <a:gd name="connsiteY98" fmla="*/ 1115505 h 1672942"/>
                <a:gd name="connsiteX99" fmla="*/ 400168 w 1670028"/>
                <a:gd name="connsiteY99" fmla="*/ 1087608 h 1672942"/>
                <a:gd name="connsiteX100" fmla="*/ 400168 w 1670028"/>
                <a:gd name="connsiteY100" fmla="*/ 1059711 h 1672942"/>
                <a:gd name="connsiteX101" fmla="*/ 708765 w 1670028"/>
                <a:gd name="connsiteY101" fmla="*/ 1059711 h 1672942"/>
                <a:gd name="connsiteX102" fmla="*/ 1017388 w 1670028"/>
                <a:gd name="connsiteY102" fmla="*/ 1059711 h 1672942"/>
                <a:gd name="connsiteX103" fmla="*/ 1017388 w 1670028"/>
                <a:gd name="connsiteY103" fmla="*/ 1087608 h 1672942"/>
                <a:gd name="connsiteX104" fmla="*/ 1017388 w 1670028"/>
                <a:gd name="connsiteY104" fmla="*/ 1115505 h 1672942"/>
                <a:gd name="connsiteX105" fmla="*/ 708765 w 1670028"/>
                <a:gd name="connsiteY105" fmla="*/ 1115505 h 1672942"/>
                <a:gd name="connsiteX106" fmla="*/ 400168 w 1670028"/>
                <a:gd name="connsiteY106" fmla="*/ 1115505 h 1672942"/>
                <a:gd name="connsiteX107" fmla="*/ 1089986 w 1670028"/>
                <a:gd name="connsiteY107" fmla="*/ 1087608 h 1672942"/>
                <a:gd name="connsiteX108" fmla="*/ 1089986 w 1670028"/>
                <a:gd name="connsiteY108" fmla="*/ 1059711 h 1672942"/>
                <a:gd name="connsiteX109" fmla="*/ 1289686 w 1670028"/>
                <a:gd name="connsiteY109" fmla="*/ 1059711 h 1672942"/>
                <a:gd name="connsiteX110" fmla="*/ 1489358 w 1670028"/>
                <a:gd name="connsiteY110" fmla="*/ 1059711 h 1672942"/>
                <a:gd name="connsiteX111" fmla="*/ 1489358 w 1670028"/>
                <a:gd name="connsiteY111" fmla="*/ 1087608 h 1672942"/>
                <a:gd name="connsiteX112" fmla="*/ 1489358 w 1670028"/>
                <a:gd name="connsiteY112" fmla="*/ 1115505 h 1672942"/>
                <a:gd name="connsiteX113" fmla="*/ 1289686 w 1670028"/>
                <a:gd name="connsiteY113" fmla="*/ 1115505 h 1672942"/>
                <a:gd name="connsiteX114" fmla="*/ 1089986 w 1670028"/>
                <a:gd name="connsiteY114" fmla="*/ 1115505 h 1672942"/>
                <a:gd name="connsiteX115" fmla="*/ 182319 w 1670028"/>
                <a:gd name="connsiteY115" fmla="*/ 920253 h 1672942"/>
                <a:gd name="connsiteX116" fmla="*/ 182319 w 1670028"/>
                <a:gd name="connsiteY116" fmla="*/ 892356 h 1672942"/>
                <a:gd name="connsiteX117" fmla="*/ 345692 w 1670028"/>
                <a:gd name="connsiteY117" fmla="*/ 892356 h 1672942"/>
                <a:gd name="connsiteX118" fmla="*/ 509092 w 1670028"/>
                <a:gd name="connsiteY118" fmla="*/ 892356 h 1672942"/>
                <a:gd name="connsiteX119" fmla="*/ 509092 w 1670028"/>
                <a:gd name="connsiteY119" fmla="*/ 920253 h 1672942"/>
                <a:gd name="connsiteX120" fmla="*/ 509092 w 1670028"/>
                <a:gd name="connsiteY120" fmla="*/ 948150 h 1672942"/>
                <a:gd name="connsiteX121" fmla="*/ 345692 w 1670028"/>
                <a:gd name="connsiteY121" fmla="*/ 948150 h 1672942"/>
                <a:gd name="connsiteX122" fmla="*/ 182319 w 1670028"/>
                <a:gd name="connsiteY122" fmla="*/ 948150 h 1672942"/>
                <a:gd name="connsiteX123" fmla="*/ 581690 w 1670028"/>
                <a:gd name="connsiteY123" fmla="*/ 920253 h 1672942"/>
                <a:gd name="connsiteX124" fmla="*/ 581690 w 1670028"/>
                <a:gd name="connsiteY124" fmla="*/ 892356 h 1672942"/>
                <a:gd name="connsiteX125" fmla="*/ 926613 w 1670028"/>
                <a:gd name="connsiteY125" fmla="*/ 892356 h 1672942"/>
                <a:gd name="connsiteX126" fmla="*/ 1271536 w 1670028"/>
                <a:gd name="connsiteY126" fmla="*/ 892356 h 1672942"/>
                <a:gd name="connsiteX127" fmla="*/ 1271536 w 1670028"/>
                <a:gd name="connsiteY127" fmla="*/ 920253 h 1672942"/>
                <a:gd name="connsiteX128" fmla="*/ 1271536 w 1670028"/>
                <a:gd name="connsiteY128" fmla="*/ 948150 h 1672942"/>
                <a:gd name="connsiteX129" fmla="*/ 926613 w 1670028"/>
                <a:gd name="connsiteY129" fmla="*/ 948150 h 1672942"/>
                <a:gd name="connsiteX130" fmla="*/ 581690 w 1670028"/>
                <a:gd name="connsiteY130" fmla="*/ 948150 h 1672942"/>
                <a:gd name="connsiteX131" fmla="*/ 1344134 w 1670028"/>
                <a:gd name="connsiteY131" fmla="*/ 920253 h 1672942"/>
                <a:gd name="connsiteX132" fmla="*/ 1344134 w 1670028"/>
                <a:gd name="connsiteY132" fmla="*/ 892356 h 1672942"/>
                <a:gd name="connsiteX133" fmla="*/ 1416760 w 1670028"/>
                <a:gd name="connsiteY133" fmla="*/ 892356 h 1672942"/>
                <a:gd name="connsiteX134" fmla="*/ 1489358 w 1670028"/>
                <a:gd name="connsiteY134" fmla="*/ 892356 h 1672942"/>
                <a:gd name="connsiteX135" fmla="*/ 1489358 w 1670028"/>
                <a:gd name="connsiteY135" fmla="*/ 920253 h 1672942"/>
                <a:gd name="connsiteX136" fmla="*/ 1489358 w 1670028"/>
                <a:gd name="connsiteY136" fmla="*/ 948150 h 1672942"/>
                <a:gd name="connsiteX137" fmla="*/ 1416760 w 1670028"/>
                <a:gd name="connsiteY137" fmla="*/ 948150 h 1672942"/>
                <a:gd name="connsiteX138" fmla="*/ 1344134 w 1670028"/>
                <a:gd name="connsiteY138" fmla="*/ 948150 h 1672942"/>
                <a:gd name="connsiteX139" fmla="*/ 182319 w 1670028"/>
                <a:gd name="connsiteY139" fmla="*/ 752899 h 1672942"/>
                <a:gd name="connsiteX140" fmla="*/ 182319 w 1670028"/>
                <a:gd name="connsiteY140" fmla="*/ 725029 h 1672942"/>
                <a:gd name="connsiteX141" fmla="*/ 236767 w 1670028"/>
                <a:gd name="connsiteY141" fmla="*/ 725029 h 1672942"/>
                <a:gd name="connsiteX142" fmla="*/ 291243 w 1670028"/>
                <a:gd name="connsiteY142" fmla="*/ 725029 h 1672942"/>
                <a:gd name="connsiteX143" fmla="*/ 291243 w 1670028"/>
                <a:gd name="connsiteY143" fmla="*/ 752899 h 1672942"/>
                <a:gd name="connsiteX144" fmla="*/ 291243 w 1670028"/>
                <a:gd name="connsiteY144" fmla="*/ 780796 h 1672942"/>
                <a:gd name="connsiteX145" fmla="*/ 236767 w 1670028"/>
                <a:gd name="connsiteY145" fmla="*/ 780796 h 1672942"/>
                <a:gd name="connsiteX146" fmla="*/ 182319 w 1670028"/>
                <a:gd name="connsiteY146" fmla="*/ 780796 h 1672942"/>
                <a:gd name="connsiteX147" fmla="*/ 363841 w 1670028"/>
                <a:gd name="connsiteY147" fmla="*/ 752899 h 1672942"/>
                <a:gd name="connsiteX148" fmla="*/ 363841 w 1670028"/>
                <a:gd name="connsiteY148" fmla="*/ 725029 h 1672942"/>
                <a:gd name="connsiteX149" fmla="*/ 617989 w 1670028"/>
                <a:gd name="connsiteY149" fmla="*/ 725029 h 1672942"/>
                <a:gd name="connsiteX150" fmla="*/ 872137 w 1670028"/>
                <a:gd name="connsiteY150" fmla="*/ 725029 h 1672942"/>
                <a:gd name="connsiteX151" fmla="*/ 872137 w 1670028"/>
                <a:gd name="connsiteY151" fmla="*/ 752899 h 1672942"/>
                <a:gd name="connsiteX152" fmla="*/ 872137 w 1670028"/>
                <a:gd name="connsiteY152" fmla="*/ 780796 h 1672942"/>
                <a:gd name="connsiteX153" fmla="*/ 617989 w 1670028"/>
                <a:gd name="connsiteY153" fmla="*/ 780796 h 1672942"/>
                <a:gd name="connsiteX154" fmla="*/ 363841 w 1670028"/>
                <a:gd name="connsiteY154" fmla="*/ 780796 h 1672942"/>
                <a:gd name="connsiteX155" fmla="*/ 944763 w 1670028"/>
                <a:gd name="connsiteY155" fmla="*/ 752899 h 1672942"/>
                <a:gd name="connsiteX156" fmla="*/ 944763 w 1670028"/>
                <a:gd name="connsiteY156" fmla="*/ 725029 h 1672942"/>
                <a:gd name="connsiteX157" fmla="*/ 1217060 w 1670028"/>
                <a:gd name="connsiteY157" fmla="*/ 725029 h 1672942"/>
                <a:gd name="connsiteX158" fmla="*/ 1489358 w 1670028"/>
                <a:gd name="connsiteY158" fmla="*/ 725029 h 1672942"/>
                <a:gd name="connsiteX159" fmla="*/ 1489358 w 1670028"/>
                <a:gd name="connsiteY159" fmla="*/ 752899 h 1672942"/>
                <a:gd name="connsiteX160" fmla="*/ 1489358 w 1670028"/>
                <a:gd name="connsiteY160" fmla="*/ 780796 h 1672942"/>
                <a:gd name="connsiteX161" fmla="*/ 1217060 w 1670028"/>
                <a:gd name="connsiteY161" fmla="*/ 780796 h 1672942"/>
                <a:gd name="connsiteX162" fmla="*/ 944763 w 1670028"/>
                <a:gd name="connsiteY162" fmla="*/ 780796 h 1672942"/>
                <a:gd name="connsiteX163" fmla="*/ 509092 w 1670028"/>
                <a:gd name="connsiteY163" fmla="*/ 585572 h 1672942"/>
                <a:gd name="connsiteX164" fmla="*/ 509092 w 1670028"/>
                <a:gd name="connsiteY164" fmla="*/ 557675 h 1672942"/>
                <a:gd name="connsiteX165" fmla="*/ 563541 w 1670028"/>
                <a:gd name="connsiteY165" fmla="*/ 557675 h 1672942"/>
                <a:gd name="connsiteX166" fmla="*/ 617989 w 1670028"/>
                <a:gd name="connsiteY166" fmla="*/ 557675 h 1672942"/>
                <a:gd name="connsiteX167" fmla="*/ 617989 w 1670028"/>
                <a:gd name="connsiteY167" fmla="*/ 585572 h 1672942"/>
                <a:gd name="connsiteX168" fmla="*/ 617989 w 1670028"/>
                <a:gd name="connsiteY168" fmla="*/ 613442 h 1672942"/>
                <a:gd name="connsiteX169" fmla="*/ 563541 w 1670028"/>
                <a:gd name="connsiteY169" fmla="*/ 613442 h 1672942"/>
                <a:gd name="connsiteX170" fmla="*/ 509092 w 1670028"/>
                <a:gd name="connsiteY170" fmla="*/ 613442 h 1672942"/>
                <a:gd name="connsiteX171" fmla="*/ 690615 w 1670028"/>
                <a:gd name="connsiteY171" fmla="*/ 585572 h 1672942"/>
                <a:gd name="connsiteX172" fmla="*/ 690615 w 1670028"/>
                <a:gd name="connsiteY172" fmla="*/ 557675 h 1672942"/>
                <a:gd name="connsiteX173" fmla="*/ 908464 w 1670028"/>
                <a:gd name="connsiteY173" fmla="*/ 557675 h 1672942"/>
                <a:gd name="connsiteX174" fmla="*/ 1126313 w 1670028"/>
                <a:gd name="connsiteY174" fmla="*/ 557675 h 1672942"/>
                <a:gd name="connsiteX175" fmla="*/ 1126313 w 1670028"/>
                <a:gd name="connsiteY175" fmla="*/ 585572 h 1672942"/>
                <a:gd name="connsiteX176" fmla="*/ 1126313 w 1670028"/>
                <a:gd name="connsiteY176" fmla="*/ 613442 h 1672942"/>
                <a:gd name="connsiteX177" fmla="*/ 908464 w 1670028"/>
                <a:gd name="connsiteY177" fmla="*/ 613442 h 1672942"/>
                <a:gd name="connsiteX178" fmla="*/ 690615 w 1670028"/>
                <a:gd name="connsiteY178" fmla="*/ 613442 h 1672942"/>
                <a:gd name="connsiteX179" fmla="*/ 1198911 w 1670028"/>
                <a:gd name="connsiteY179" fmla="*/ 585572 h 1672942"/>
                <a:gd name="connsiteX180" fmla="*/ 1198911 w 1670028"/>
                <a:gd name="connsiteY180" fmla="*/ 557675 h 1672942"/>
                <a:gd name="connsiteX181" fmla="*/ 1344134 w 1670028"/>
                <a:gd name="connsiteY181" fmla="*/ 557675 h 1672942"/>
                <a:gd name="connsiteX182" fmla="*/ 1489358 w 1670028"/>
                <a:gd name="connsiteY182" fmla="*/ 557675 h 1672942"/>
                <a:gd name="connsiteX183" fmla="*/ 1489358 w 1670028"/>
                <a:gd name="connsiteY183" fmla="*/ 585572 h 1672942"/>
                <a:gd name="connsiteX184" fmla="*/ 1489358 w 1670028"/>
                <a:gd name="connsiteY184" fmla="*/ 613442 h 1672942"/>
                <a:gd name="connsiteX185" fmla="*/ 1344134 w 1670028"/>
                <a:gd name="connsiteY185" fmla="*/ 613442 h 1672942"/>
                <a:gd name="connsiteX186" fmla="*/ 1198911 w 1670028"/>
                <a:gd name="connsiteY186" fmla="*/ 613442 h 1672942"/>
                <a:gd name="connsiteX187" fmla="*/ 193467 w 1670028"/>
                <a:gd name="connsiteY187" fmla="*/ 465445 h 1672942"/>
                <a:gd name="connsiteX188" fmla="*/ 182319 w 1670028"/>
                <a:gd name="connsiteY188" fmla="*/ 456878 h 1672942"/>
                <a:gd name="connsiteX189" fmla="*/ 182319 w 1670028"/>
                <a:gd name="connsiteY189" fmla="*/ 334527 h 1672942"/>
                <a:gd name="connsiteX190" fmla="*/ 182319 w 1670028"/>
                <a:gd name="connsiteY190" fmla="*/ 212203 h 1672942"/>
                <a:gd name="connsiteX191" fmla="*/ 193467 w 1670028"/>
                <a:gd name="connsiteY191" fmla="*/ 203636 h 1672942"/>
                <a:gd name="connsiteX192" fmla="*/ 204587 w 1670028"/>
                <a:gd name="connsiteY192" fmla="*/ 195070 h 1672942"/>
                <a:gd name="connsiteX193" fmla="*/ 363841 w 1670028"/>
                <a:gd name="connsiteY193" fmla="*/ 195070 h 1672942"/>
                <a:gd name="connsiteX194" fmla="*/ 523096 w 1670028"/>
                <a:gd name="connsiteY194" fmla="*/ 195070 h 1672942"/>
                <a:gd name="connsiteX195" fmla="*/ 534244 w 1670028"/>
                <a:gd name="connsiteY195" fmla="*/ 203636 h 1672942"/>
                <a:gd name="connsiteX196" fmla="*/ 545391 w 1670028"/>
                <a:gd name="connsiteY196" fmla="*/ 212203 h 1672942"/>
                <a:gd name="connsiteX197" fmla="*/ 545391 w 1670028"/>
                <a:gd name="connsiteY197" fmla="*/ 334527 h 1672942"/>
                <a:gd name="connsiteX198" fmla="*/ 545391 w 1670028"/>
                <a:gd name="connsiteY198" fmla="*/ 456878 h 1672942"/>
                <a:gd name="connsiteX199" fmla="*/ 534244 w 1670028"/>
                <a:gd name="connsiteY199" fmla="*/ 465445 h 1672942"/>
                <a:gd name="connsiteX200" fmla="*/ 523096 w 1670028"/>
                <a:gd name="connsiteY200" fmla="*/ 473984 h 1672942"/>
                <a:gd name="connsiteX201" fmla="*/ 363841 w 1670028"/>
                <a:gd name="connsiteY201" fmla="*/ 473984 h 1672942"/>
                <a:gd name="connsiteX202" fmla="*/ 204587 w 1670028"/>
                <a:gd name="connsiteY202" fmla="*/ 473984 h 1672942"/>
                <a:gd name="connsiteX203" fmla="*/ 472766 w 1670028"/>
                <a:gd name="connsiteY203" fmla="*/ 334527 h 1672942"/>
                <a:gd name="connsiteX204" fmla="*/ 472766 w 1670028"/>
                <a:gd name="connsiteY204" fmla="*/ 250863 h 1672942"/>
                <a:gd name="connsiteX205" fmla="*/ 363841 w 1670028"/>
                <a:gd name="connsiteY205" fmla="*/ 250863 h 1672942"/>
                <a:gd name="connsiteX206" fmla="*/ 254944 w 1670028"/>
                <a:gd name="connsiteY206" fmla="*/ 250863 h 1672942"/>
                <a:gd name="connsiteX207" fmla="*/ 254944 w 1670028"/>
                <a:gd name="connsiteY207" fmla="*/ 334527 h 1672942"/>
                <a:gd name="connsiteX208" fmla="*/ 254944 w 1670028"/>
                <a:gd name="connsiteY208" fmla="*/ 418218 h 1672942"/>
                <a:gd name="connsiteX209" fmla="*/ 363841 w 1670028"/>
                <a:gd name="connsiteY209" fmla="*/ 418218 h 1672942"/>
                <a:gd name="connsiteX210" fmla="*/ 472766 w 1670028"/>
                <a:gd name="connsiteY210" fmla="*/ 418218 h 1672942"/>
                <a:gd name="connsiteX211" fmla="*/ 654316 w 1670028"/>
                <a:gd name="connsiteY211" fmla="*/ 418218 h 1672942"/>
                <a:gd name="connsiteX212" fmla="*/ 654316 w 1670028"/>
                <a:gd name="connsiteY212" fmla="*/ 390321 h 1672942"/>
                <a:gd name="connsiteX213" fmla="*/ 817689 w 1670028"/>
                <a:gd name="connsiteY213" fmla="*/ 390321 h 1672942"/>
                <a:gd name="connsiteX214" fmla="*/ 981062 w 1670028"/>
                <a:gd name="connsiteY214" fmla="*/ 390321 h 1672942"/>
                <a:gd name="connsiteX215" fmla="*/ 981062 w 1670028"/>
                <a:gd name="connsiteY215" fmla="*/ 418218 h 1672942"/>
                <a:gd name="connsiteX216" fmla="*/ 981062 w 1670028"/>
                <a:gd name="connsiteY216" fmla="*/ 446115 h 1672942"/>
                <a:gd name="connsiteX217" fmla="*/ 817689 w 1670028"/>
                <a:gd name="connsiteY217" fmla="*/ 446115 h 1672942"/>
                <a:gd name="connsiteX218" fmla="*/ 654316 w 1670028"/>
                <a:gd name="connsiteY218" fmla="*/ 446115 h 1672942"/>
                <a:gd name="connsiteX219" fmla="*/ 654316 w 1670028"/>
                <a:gd name="connsiteY219" fmla="*/ 250863 h 1672942"/>
                <a:gd name="connsiteX220" fmla="*/ 654316 w 1670028"/>
                <a:gd name="connsiteY220" fmla="*/ 222966 h 1672942"/>
                <a:gd name="connsiteX221" fmla="*/ 690615 w 1670028"/>
                <a:gd name="connsiteY221" fmla="*/ 222966 h 1672942"/>
                <a:gd name="connsiteX222" fmla="*/ 726914 w 1670028"/>
                <a:gd name="connsiteY222" fmla="*/ 222966 h 1672942"/>
                <a:gd name="connsiteX223" fmla="*/ 726914 w 1670028"/>
                <a:gd name="connsiteY223" fmla="*/ 250863 h 1672942"/>
                <a:gd name="connsiteX224" fmla="*/ 726914 w 1670028"/>
                <a:gd name="connsiteY224" fmla="*/ 278760 h 1672942"/>
                <a:gd name="connsiteX225" fmla="*/ 690615 w 1670028"/>
                <a:gd name="connsiteY225" fmla="*/ 278760 h 1672942"/>
                <a:gd name="connsiteX226" fmla="*/ 654316 w 1670028"/>
                <a:gd name="connsiteY226" fmla="*/ 278760 h 1672942"/>
                <a:gd name="connsiteX227" fmla="*/ 799540 w 1670028"/>
                <a:gd name="connsiteY227" fmla="*/ 250863 h 1672942"/>
                <a:gd name="connsiteX228" fmla="*/ 799540 w 1670028"/>
                <a:gd name="connsiteY228" fmla="*/ 222966 h 1672942"/>
                <a:gd name="connsiteX229" fmla="*/ 890315 w 1670028"/>
                <a:gd name="connsiteY229" fmla="*/ 222966 h 1672942"/>
                <a:gd name="connsiteX230" fmla="*/ 981062 w 1670028"/>
                <a:gd name="connsiteY230" fmla="*/ 222966 h 1672942"/>
                <a:gd name="connsiteX231" fmla="*/ 981062 w 1670028"/>
                <a:gd name="connsiteY231" fmla="*/ 250863 h 1672942"/>
                <a:gd name="connsiteX232" fmla="*/ 981062 w 1670028"/>
                <a:gd name="connsiteY232" fmla="*/ 278760 h 1672942"/>
                <a:gd name="connsiteX233" fmla="*/ 890315 w 1670028"/>
                <a:gd name="connsiteY233" fmla="*/ 278760 h 1672942"/>
                <a:gd name="connsiteX234" fmla="*/ 799540 w 1670028"/>
                <a:gd name="connsiteY234" fmla="*/ 278760 h 167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Lst>
              <a:rect l="l" t="t" r="r" b="b"/>
              <a:pathLst>
                <a:path w="1670028" h="1672942">
                  <a:moveTo>
                    <a:pt x="66338" y="1665042"/>
                  </a:moveTo>
                  <a:cubicBezTo>
                    <a:pt x="39512" y="1655459"/>
                    <a:pt x="13509" y="1633685"/>
                    <a:pt x="6041" y="1614547"/>
                  </a:cubicBezTo>
                  <a:cubicBezTo>
                    <a:pt x="-1757" y="1594558"/>
                    <a:pt x="-1510" y="78073"/>
                    <a:pt x="6288" y="57781"/>
                  </a:cubicBezTo>
                  <a:cubicBezTo>
                    <a:pt x="14086" y="37517"/>
                    <a:pt x="51373" y="9456"/>
                    <a:pt x="77925" y="3882"/>
                  </a:cubicBezTo>
                  <a:cubicBezTo>
                    <a:pt x="93686" y="560"/>
                    <a:pt x="216037" y="-182"/>
                    <a:pt x="613459" y="587"/>
                  </a:cubicBezTo>
                  <a:cubicBezTo>
                    <a:pt x="1104841" y="1521"/>
                    <a:pt x="1129306" y="1877"/>
                    <a:pt x="1144435" y="8055"/>
                  </a:cubicBezTo>
                  <a:cubicBezTo>
                    <a:pt x="1166346" y="16952"/>
                    <a:pt x="1641336" y="381287"/>
                    <a:pt x="1656465" y="400782"/>
                  </a:cubicBezTo>
                  <a:lnTo>
                    <a:pt x="1668629" y="416461"/>
                  </a:lnTo>
                  <a:lnTo>
                    <a:pt x="1669864" y="1009161"/>
                  </a:lnTo>
                  <a:cubicBezTo>
                    <a:pt x="1671018" y="1552603"/>
                    <a:pt x="1670496" y="1603125"/>
                    <a:pt x="1663659" y="1617046"/>
                  </a:cubicBezTo>
                  <a:cubicBezTo>
                    <a:pt x="1653307" y="1638024"/>
                    <a:pt x="1632028" y="1655514"/>
                    <a:pt x="1605119" y="1665125"/>
                  </a:cubicBezTo>
                  <a:lnTo>
                    <a:pt x="1582412" y="1673252"/>
                  </a:lnTo>
                  <a:lnTo>
                    <a:pt x="835838" y="1673252"/>
                  </a:lnTo>
                  <a:lnTo>
                    <a:pt x="89265" y="1673252"/>
                  </a:lnTo>
                  <a:close/>
                  <a:moveTo>
                    <a:pt x="1587162" y="1608974"/>
                  </a:moveTo>
                  <a:lnTo>
                    <a:pt x="1598282" y="1600434"/>
                  </a:lnTo>
                  <a:lnTo>
                    <a:pt x="1598282" y="1015504"/>
                  </a:lnTo>
                  <a:lnTo>
                    <a:pt x="1598282" y="430574"/>
                  </a:lnTo>
                  <a:lnTo>
                    <a:pt x="1380461" y="263137"/>
                  </a:lnTo>
                  <a:lnTo>
                    <a:pt x="1162639" y="95728"/>
                  </a:lnTo>
                  <a:lnTo>
                    <a:pt x="1162612" y="234471"/>
                  </a:lnTo>
                  <a:lnTo>
                    <a:pt x="1162612" y="373215"/>
                  </a:lnTo>
                  <a:lnTo>
                    <a:pt x="1173732" y="381754"/>
                  </a:lnTo>
                  <a:lnTo>
                    <a:pt x="1184880" y="390321"/>
                  </a:lnTo>
                  <a:lnTo>
                    <a:pt x="1318983" y="390321"/>
                  </a:lnTo>
                  <a:lnTo>
                    <a:pt x="1453059" y="390321"/>
                  </a:lnTo>
                  <a:lnTo>
                    <a:pt x="1453059" y="418218"/>
                  </a:lnTo>
                  <a:lnTo>
                    <a:pt x="1453059" y="446115"/>
                  </a:lnTo>
                  <a:lnTo>
                    <a:pt x="1315771" y="446087"/>
                  </a:lnTo>
                  <a:cubicBezTo>
                    <a:pt x="1181173" y="446060"/>
                    <a:pt x="1178043" y="445895"/>
                    <a:pt x="1155555" y="437823"/>
                  </a:cubicBezTo>
                  <a:cubicBezTo>
                    <a:pt x="1128702" y="428240"/>
                    <a:pt x="1102727" y="406466"/>
                    <a:pt x="1095258" y="387328"/>
                  </a:cubicBezTo>
                  <a:cubicBezTo>
                    <a:pt x="1091606" y="377938"/>
                    <a:pt x="1089986" y="325384"/>
                    <a:pt x="1089986" y="214729"/>
                  </a:cubicBezTo>
                  <a:lnTo>
                    <a:pt x="1089986" y="55640"/>
                  </a:lnTo>
                  <a:lnTo>
                    <a:pt x="592838" y="55640"/>
                  </a:lnTo>
                  <a:lnTo>
                    <a:pt x="95663" y="55640"/>
                  </a:lnTo>
                  <a:lnTo>
                    <a:pt x="84542" y="64179"/>
                  </a:lnTo>
                  <a:lnTo>
                    <a:pt x="73394" y="72746"/>
                  </a:lnTo>
                  <a:lnTo>
                    <a:pt x="73394" y="836590"/>
                  </a:lnTo>
                  <a:lnTo>
                    <a:pt x="73394" y="1600434"/>
                  </a:lnTo>
                  <a:lnTo>
                    <a:pt x="84542" y="1609001"/>
                  </a:lnTo>
                  <a:lnTo>
                    <a:pt x="95663" y="1617540"/>
                  </a:lnTo>
                  <a:lnTo>
                    <a:pt x="835838" y="1617540"/>
                  </a:lnTo>
                  <a:lnTo>
                    <a:pt x="1576014" y="1617540"/>
                  </a:lnTo>
                  <a:close/>
                  <a:moveTo>
                    <a:pt x="182319" y="1422317"/>
                  </a:moveTo>
                  <a:lnTo>
                    <a:pt x="182319" y="1394419"/>
                  </a:lnTo>
                  <a:lnTo>
                    <a:pt x="273094" y="1394419"/>
                  </a:lnTo>
                  <a:lnTo>
                    <a:pt x="363841" y="1394419"/>
                  </a:lnTo>
                  <a:lnTo>
                    <a:pt x="363841" y="1422317"/>
                  </a:lnTo>
                  <a:lnTo>
                    <a:pt x="363841" y="1450186"/>
                  </a:lnTo>
                  <a:lnTo>
                    <a:pt x="273094" y="1450186"/>
                  </a:lnTo>
                  <a:lnTo>
                    <a:pt x="182319" y="1450186"/>
                  </a:lnTo>
                  <a:close/>
                  <a:moveTo>
                    <a:pt x="436467" y="1422317"/>
                  </a:moveTo>
                  <a:lnTo>
                    <a:pt x="436467" y="1394419"/>
                  </a:lnTo>
                  <a:lnTo>
                    <a:pt x="654316" y="1394419"/>
                  </a:lnTo>
                  <a:lnTo>
                    <a:pt x="872137" y="1394419"/>
                  </a:lnTo>
                  <a:lnTo>
                    <a:pt x="872137" y="1422317"/>
                  </a:lnTo>
                  <a:lnTo>
                    <a:pt x="872137" y="1450186"/>
                  </a:lnTo>
                  <a:lnTo>
                    <a:pt x="654316" y="1450186"/>
                  </a:lnTo>
                  <a:lnTo>
                    <a:pt x="436467" y="1450186"/>
                  </a:lnTo>
                  <a:close/>
                  <a:moveTo>
                    <a:pt x="182319" y="1254962"/>
                  </a:moveTo>
                  <a:lnTo>
                    <a:pt x="182319" y="1227065"/>
                  </a:lnTo>
                  <a:lnTo>
                    <a:pt x="327542" y="1227065"/>
                  </a:lnTo>
                  <a:lnTo>
                    <a:pt x="472766" y="1227065"/>
                  </a:lnTo>
                  <a:lnTo>
                    <a:pt x="472766" y="1254962"/>
                  </a:lnTo>
                  <a:lnTo>
                    <a:pt x="472766" y="1282859"/>
                  </a:lnTo>
                  <a:lnTo>
                    <a:pt x="327542" y="1282859"/>
                  </a:lnTo>
                  <a:lnTo>
                    <a:pt x="182319" y="1282859"/>
                  </a:lnTo>
                  <a:close/>
                  <a:moveTo>
                    <a:pt x="545391" y="1254962"/>
                  </a:moveTo>
                  <a:lnTo>
                    <a:pt x="545391" y="1227065"/>
                  </a:lnTo>
                  <a:lnTo>
                    <a:pt x="599840" y="1227065"/>
                  </a:lnTo>
                  <a:lnTo>
                    <a:pt x="654316" y="1227065"/>
                  </a:lnTo>
                  <a:lnTo>
                    <a:pt x="654316" y="1254962"/>
                  </a:lnTo>
                  <a:lnTo>
                    <a:pt x="654316" y="1282859"/>
                  </a:lnTo>
                  <a:lnTo>
                    <a:pt x="599840" y="1282859"/>
                  </a:lnTo>
                  <a:lnTo>
                    <a:pt x="545391" y="1282859"/>
                  </a:lnTo>
                  <a:close/>
                  <a:moveTo>
                    <a:pt x="726914" y="1254962"/>
                  </a:moveTo>
                  <a:lnTo>
                    <a:pt x="726914" y="1227065"/>
                  </a:lnTo>
                  <a:lnTo>
                    <a:pt x="962912" y="1227065"/>
                  </a:lnTo>
                  <a:lnTo>
                    <a:pt x="1198911" y="1227065"/>
                  </a:lnTo>
                  <a:lnTo>
                    <a:pt x="1198911" y="1254962"/>
                  </a:lnTo>
                  <a:lnTo>
                    <a:pt x="1198911" y="1282859"/>
                  </a:lnTo>
                  <a:lnTo>
                    <a:pt x="962912" y="1282859"/>
                  </a:lnTo>
                  <a:lnTo>
                    <a:pt x="726914" y="1282859"/>
                  </a:lnTo>
                  <a:close/>
                  <a:moveTo>
                    <a:pt x="1271536" y="1254962"/>
                  </a:moveTo>
                  <a:lnTo>
                    <a:pt x="1271536" y="1227065"/>
                  </a:lnTo>
                  <a:lnTo>
                    <a:pt x="1380461" y="1227065"/>
                  </a:lnTo>
                  <a:lnTo>
                    <a:pt x="1489358" y="1227065"/>
                  </a:lnTo>
                  <a:lnTo>
                    <a:pt x="1489358" y="1254962"/>
                  </a:lnTo>
                  <a:lnTo>
                    <a:pt x="1489358" y="1282859"/>
                  </a:lnTo>
                  <a:lnTo>
                    <a:pt x="1380461" y="1282859"/>
                  </a:lnTo>
                  <a:lnTo>
                    <a:pt x="1271536" y="1282859"/>
                  </a:lnTo>
                  <a:close/>
                  <a:moveTo>
                    <a:pt x="182319" y="1087608"/>
                  </a:moveTo>
                  <a:lnTo>
                    <a:pt x="182319" y="1059711"/>
                  </a:lnTo>
                  <a:lnTo>
                    <a:pt x="254944" y="1059711"/>
                  </a:lnTo>
                  <a:lnTo>
                    <a:pt x="327542" y="1059711"/>
                  </a:lnTo>
                  <a:lnTo>
                    <a:pt x="327542" y="1087608"/>
                  </a:lnTo>
                  <a:lnTo>
                    <a:pt x="327542" y="1115505"/>
                  </a:lnTo>
                  <a:lnTo>
                    <a:pt x="254944" y="1115505"/>
                  </a:lnTo>
                  <a:lnTo>
                    <a:pt x="182319" y="1115505"/>
                  </a:lnTo>
                  <a:close/>
                  <a:moveTo>
                    <a:pt x="400168" y="1087608"/>
                  </a:moveTo>
                  <a:lnTo>
                    <a:pt x="400168" y="1059711"/>
                  </a:lnTo>
                  <a:lnTo>
                    <a:pt x="708765" y="1059711"/>
                  </a:lnTo>
                  <a:lnTo>
                    <a:pt x="1017388" y="1059711"/>
                  </a:lnTo>
                  <a:lnTo>
                    <a:pt x="1017388" y="1087608"/>
                  </a:lnTo>
                  <a:lnTo>
                    <a:pt x="1017388" y="1115505"/>
                  </a:lnTo>
                  <a:lnTo>
                    <a:pt x="708765" y="1115505"/>
                  </a:lnTo>
                  <a:lnTo>
                    <a:pt x="400168" y="1115505"/>
                  </a:lnTo>
                  <a:close/>
                  <a:moveTo>
                    <a:pt x="1089986" y="1087608"/>
                  </a:moveTo>
                  <a:lnTo>
                    <a:pt x="1089986" y="1059711"/>
                  </a:lnTo>
                  <a:lnTo>
                    <a:pt x="1289686" y="1059711"/>
                  </a:lnTo>
                  <a:lnTo>
                    <a:pt x="1489358" y="1059711"/>
                  </a:lnTo>
                  <a:lnTo>
                    <a:pt x="1489358" y="1087608"/>
                  </a:lnTo>
                  <a:lnTo>
                    <a:pt x="1489358" y="1115505"/>
                  </a:lnTo>
                  <a:lnTo>
                    <a:pt x="1289686" y="1115505"/>
                  </a:lnTo>
                  <a:lnTo>
                    <a:pt x="1089986" y="1115505"/>
                  </a:lnTo>
                  <a:close/>
                  <a:moveTo>
                    <a:pt x="182319" y="920253"/>
                  </a:moveTo>
                  <a:lnTo>
                    <a:pt x="182319" y="892356"/>
                  </a:lnTo>
                  <a:lnTo>
                    <a:pt x="345692" y="892356"/>
                  </a:lnTo>
                  <a:lnTo>
                    <a:pt x="509092" y="892356"/>
                  </a:lnTo>
                  <a:lnTo>
                    <a:pt x="509092" y="920253"/>
                  </a:lnTo>
                  <a:lnTo>
                    <a:pt x="509092" y="948150"/>
                  </a:lnTo>
                  <a:lnTo>
                    <a:pt x="345692" y="948150"/>
                  </a:lnTo>
                  <a:lnTo>
                    <a:pt x="182319" y="948150"/>
                  </a:lnTo>
                  <a:close/>
                  <a:moveTo>
                    <a:pt x="581690" y="920253"/>
                  </a:moveTo>
                  <a:lnTo>
                    <a:pt x="581690" y="892356"/>
                  </a:lnTo>
                  <a:lnTo>
                    <a:pt x="926613" y="892356"/>
                  </a:lnTo>
                  <a:lnTo>
                    <a:pt x="1271536" y="892356"/>
                  </a:lnTo>
                  <a:lnTo>
                    <a:pt x="1271536" y="920253"/>
                  </a:lnTo>
                  <a:lnTo>
                    <a:pt x="1271536" y="948150"/>
                  </a:lnTo>
                  <a:lnTo>
                    <a:pt x="926613" y="948150"/>
                  </a:lnTo>
                  <a:lnTo>
                    <a:pt x="581690" y="948150"/>
                  </a:lnTo>
                  <a:close/>
                  <a:moveTo>
                    <a:pt x="1344134" y="920253"/>
                  </a:moveTo>
                  <a:lnTo>
                    <a:pt x="1344134" y="892356"/>
                  </a:lnTo>
                  <a:lnTo>
                    <a:pt x="1416760" y="892356"/>
                  </a:lnTo>
                  <a:lnTo>
                    <a:pt x="1489358" y="892356"/>
                  </a:lnTo>
                  <a:lnTo>
                    <a:pt x="1489358" y="920253"/>
                  </a:lnTo>
                  <a:lnTo>
                    <a:pt x="1489358" y="948150"/>
                  </a:lnTo>
                  <a:lnTo>
                    <a:pt x="1416760" y="948150"/>
                  </a:lnTo>
                  <a:lnTo>
                    <a:pt x="1344134" y="948150"/>
                  </a:lnTo>
                  <a:close/>
                  <a:moveTo>
                    <a:pt x="182319" y="752899"/>
                  </a:moveTo>
                  <a:lnTo>
                    <a:pt x="182319" y="725029"/>
                  </a:lnTo>
                  <a:lnTo>
                    <a:pt x="236767" y="725029"/>
                  </a:lnTo>
                  <a:lnTo>
                    <a:pt x="291243" y="725029"/>
                  </a:lnTo>
                  <a:lnTo>
                    <a:pt x="291243" y="752899"/>
                  </a:lnTo>
                  <a:lnTo>
                    <a:pt x="291243" y="780796"/>
                  </a:lnTo>
                  <a:lnTo>
                    <a:pt x="236767" y="780796"/>
                  </a:lnTo>
                  <a:lnTo>
                    <a:pt x="182319" y="780796"/>
                  </a:lnTo>
                  <a:close/>
                  <a:moveTo>
                    <a:pt x="363841" y="752899"/>
                  </a:moveTo>
                  <a:lnTo>
                    <a:pt x="363841" y="725029"/>
                  </a:lnTo>
                  <a:lnTo>
                    <a:pt x="617989" y="725029"/>
                  </a:lnTo>
                  <a:lnTo>
                    <a:pt x="872137" y="725029"/>
                  </a:lnTo>
                  <a:lnTo>
                    <a:pt x="872137" y="752899"/>
                  </a:lnTo>
                  <a:lnTo>
                    <a:pt x="872137" y="780796"/>
                  </a:lnTo>
                  <a:lnTo>
                    <a:pt x="617989" y="780796"/>
                  </a:lnTo>
                  <a:lnTo>
                    <a:pt x="363841" y="780796"/>
                  </a:lnTo>
                  <a:close/>
                  <a:moveTo>
                    <a:pt x="944763" y="752899"/>
                  </a:moveTo>
                  <a:lnTo>
                    <a:pt x="944763" y="725029"/>
                  </a:lnTo>
                  <a:lnTo>
                    <a:pt x="1217060" y="725029"/>
                  </a:lnTo>
                  <a:lnTo>
                    <a:pt x="1489358" y="725029"/>
                  </a:lnTo>
                  <a:lnTo>
                    <a:pt x="1489358" y="752899"/>
                  </a:lnTo>
                  <a:lnTo>
                    <a:pt x="1489358" y="780796"/>
                  </a:lnTo>
                  <a:lnTo>
                    <a:pt x="1217060" y="780796"/>
                  </a:lnTo>
                  <a:lnTo>
                    <a:pt x="944763" y="780796"/>
                  </a:lnTo>
                  <a:close/>
                  <a:moveTo>
                    <a:pt x="509092" y="585572"/>
                  </a:moveTo>
                  <a:lnTo>
                    <a:pt x="509092" y="557675"/>
                  </a:lnTo>
                  <a:lnTo>
                    <a:pt x="563541" y="557675"/>
                  </a:lnTo>
                  <a:lnTo>
                    <a:pt x="617989" y="557675"/>
                  </a:lnTo>
                  <a:lnTo>
                    <a:pt x="617989" y="585572"/>
                  </a:lnTo>
                  <a:lnTo>
                    <a:pt x="617989" y="613442"/>
                  </a:lnTo>
                  <a:lnTo>
                    <a:pt x="563541" y="613442"/>
                  </a:lnTo>
                  <a:lnTo>
                    <a:pt x="509092" y="613442"/>
                  </a:lnTo>
                  <a:close/>
                  <a:moveTo>
                    <a:pt x="690615" y="585572"/>
                  </a:moveTo>
                  <a:lnTo>
                    <a:pt x="690615" y="557675"/>
                  </a:lnTo>
                  <a:lnTo>
                    <a:pt x="908464" y="557675"/>
                  </a:lnTo>
                  <a:lnTo>
                    <a:pt x="1126313" y="557675"/>
                  </a:lnTo>
                  <a:lnTo>
                    <a:pt x="1126313" y="585572"/>
                  </a:lnTo>
                  <a:lnTo>
                    <a:pt x="1126313" y="613442"/>
                  </a:lnTo>
                  <a:lnTo>
                    <a:pt x="908464" y="613442"/>
                  </a:lnTo>
                  <a:lnTo>
                    <a:pt x="690615" y="613442"/>
                  </a:lnTo>
                  <a:close/>
                  <a:moveTo>
                    <a:pt x="1198911" y="585572"/>
                  </a:moveTo>
                  <a:lnTo>
                    <a:pt x="1198911" y="557675"/>
                  </a:lnTo>
                  <a:lnTo>
                    <a:pt x="1344134" y="557675"/>
                  </a:lnTo>
                  <a:lnTo>
                    <a:pt x="1489358" y="557675"/>
                  </a:lnTo>
                  <a:lnTo>
                    <a:pt x="1489358" y="585572"/>
                  </a:lnTo>
                  <a:lnTo>
                    <a:pt x="1489358" y="613442"/>
                  </a:lnTo>
                  <a:lnTo>
                    <a:pt x="1344134" y="613442"/>
                  </a:lnTo>
                  <a:lnTo>
                    <a:pt x="1198911" y="613442"/>
                  </a:lnTo>
                  <a:close/>
                  <a:moveTo>
                    <a:pt x="193467" y="465445"/>
                  </a:moveTo>
                  <a:lnTo>
                    <a:pt x="182319" y="456878"/>
                  </a:lnTo>
                  <a:lnTo>
                    <a:pt x="182319" y="334527"/>
                  </a:lnTo>
                  <a:lnTo>
                    <a:pt x="182319" y="212203"/>
                  </a:lnTo>
                  <a:lnTo>
                    <a:pt x="193467" y="203636"/>
                  </a:lnTo>
                  <a:lnTo>
                    <a:pt x="204587" y="195070"/>
                  </a:lnTo>
                  <a:lnTo>
                    <a:pt x="363841" y="195070"/>
                  </a:lnTo>
                  <a:lnTo>
                    <a:pt x="523096" y="195070"/>
                  </a:lnTo>
                  <a:lnTo>
                    <a:pt x="534244" y="203636"/>
                  </a:lnTo>
                  <a:lnTo>
                    <a:pt x="545391" y="212203"/>
                  </a:lnTo>
                  <a:lnTo>
                    <a:pt x="545391" y="334527"/>
                  </a:lnTo>
                  <a:lnTo>
                    <a:pt x="545391" y="456878"/>
                  </a:lnTo>
                  <a:lnTo>
                    <a:pt x="534244" y="465445"/>
                  </a:lnTo>
                  <a:lnTo>
                    <a:pt x="523096" y="473984"/>
                  </a:lnTo>
                  <a:lnTo>
                    <a:pt x="363841" y="473984"/>
                  </a:lnTo>
                  <a:lnTo>
                    <a:pt x="204587" y="473984"/>
                  </a:lnTo>
                  <a:close/>
                  <a:moveTo>
                    <a:pt x="472766" y="334527"/>
                  </a:moveTo>
                  <a:lnTo>
                    <a:pt x="472766" y="250863"/>
                  </a:lnTo>
                  <a:lnTo>
                    <a:pt x="363841" y="250863"/>
                  </a:lnTo>
                  <a:lnTo>
                    <a:pt x="254944" y="250863"/>
                  </a:lnTo>
                  <a:lnTo>
                    <a:pt x="254944" y="334527"/>
                  </a:lnTo>
                  <a:lnTo>
                    <a:pt x="254944" y="418218"/>
                  </a:lnTo>
                  <a:lnTo>
                    <a:pt x="363841" y="418218"/>
                  </a:lnTo>
                  <a:lnTo>
                    <a:pt x="472766" y="418218"/>
                  </a:lnTo>
                  <a:close/>
                  <a:moveTo>
                    <a:pt x="654316" y="418218"/>
                  </a:moveTo>
                  <a:lnTo>
                    <a:pt x="654316" y="390321"/>
                  </a:lnTo>
                  <a:lnTo>
                    <a:pt x="817689" y="390321"/>
                  </a:lnTo>
                  <a:lnTo>
                    <a:pt x="981062" y="390321"/>
                  </a:lnTo>
                  <a:lnTo>
                    <a:pt x="981062" y="418218"/>
                  </a:lnTo>
                  <a:lnTo>
                    <a:pt x="981062" y="446115"/>
                  </a:lnTo>
                  <a:lnTo>
                    <a:pt x="817689" y="446115"/>
                  </a:lnTo>
                  <a:lnTo>
                    <a:pt x="654316" y="446115"/>
                  </a:lnTo>
                  <a:close/>
                  <a:moveTo>
                    <a:pt x="654316" y="250863"/>
                  </a:moveTo>
                  <a:lnTo>
                    <a:pt x="654316" y="222966"/>
                  </a:lnTo>
                  <a:lnTo>
                    <a:pt x="690615" y="222966"/>
                  </a:lnTo>
                  <a:lnTo>
                    <a:pt x="726914" y="222966"/>
                  </a:lnTo>
                  <a:lnTo>
                    <a:pt x="726914" y="250863"/>
                  </a:lnTo>
                  <a:lnTo>
                    <a:pt x="726914" y="278760"/>
                  </a:lnTo>
                  <a:lnTo>
                    <a:pt x="690615" y="278760"/>
                  </a:lnTo>
                  <a:lnTo>
                    <a:pt x="654316" y="278760"/>
                  </a:lnTo>
                  <a:close/>
                  <a:moveTo>
                    <a:pt x="799540" y="250863"/>
                  </a:moveTo>
                  <a:lnTo>
                    <a:pt x="799540" y="222966"/>
                  </a:lnTo>
                  <a:lnTo>
                    <a:pt x="890315" y="222966"/>
                  </a:lnTo>
                  <a:lnTo>
                    <a:pt x="981062" y="222966"/>
                  </a:lnTo>
                  <a:lnTo>
                    <a:pt x="981062" y="250863"/>
                  </a:lnTo>
                  <a:lnTo>
                    <a:pt x="981062" y="278760"/>
                  </a:lnTo>
                  <a:lnTo>
                    <a:pt x="890315" y="278760"/>
                  </a:lnTo>
                  <a:lnTo>
                    <a:pt x="799540" y="278760"/>
                  </a:lnTo>
                  <a:close/>
                </a:path>
              </a:pathLst>
            </a:custGeom>
            <a:solidFill>
              <a:schemeClr val="bg1"/>
            </a:solidFill>
            <a:ln w="3969" cap="flat">
              <a:noFill/>
              <a:prstDash val="solid"/>
              <a:miter/>
            </a:ln>
          </p:spPr>
          <p:txBody>
            <a:bodyPr rtlCol="0" anchor="ctr"/>
            <a:lstStyle/>
            <a:p>
              <a:endParaRPr lang="en-IN"/>
            </a:p>
          </p:txBody>
        </p:sp>
      </p:grpSp>
      <p:grpSp>
        <p:nvGrpSpPr>
          <p:cNvPr id="62" name="Group 61">
            <a:extLst>
              <a:ext uri="{FF2B5EF4-FFF2-40B4-BE49-F238E27FC236}">
                <a16:creationId xmlns:a16="http://schemas.microsoft.com/office/drawing/2014/main" id="{CE2E7EDC-E6BB-4D00-867C-3FE5D1C22034}"/>
              </a:ext>
            </a:extLst>
          </p:cNvPr>
          <p:cNvGrpSpPr/>
          <p:nvPr/>
        </p:nvGrpSpPr>
        <p:grpSpPr>
          <a:xfrm>
            <a:off x="4161829" y="3376118"/>
            <a:ext cx="731520" cy="731520"/>
            <a:chOff x="4133609" y="3329463"/>
            <a:chExt cx="822960" cy="822960"/>
          </a:xfrm>
        </p:grpSpPr>
        <p:sp>
          <p:nvSpPr>
            <p:cNvPr id="45" name="Oval 44">
              <a:extLst>
                <a:ext uri="{FF2B5EF4-FFF2-40B4-BE49-F238E27FC236}">
                  <a16:creationId xmlns:a16="http://schemas.microsoft.com/office/drawing/2014/main" id="{424BA74C-B9BE-42FE-B617-9A05266A34C4}"/>
                </a:ext>
              </a:extLst>
            </p:cNvPr>
            <p:cNvSpPr/>
            <p:nvPr/>
          </p:nvSpPr>
          <p:spPr>
            <a:xfrm flipH="1">
              <a:off x="4133609" y="3329463"/>
              <a:ext cx="822960" cy="822960"/>
            </a:xfrm>
            <a:prstGeom prst="ellipse">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eaLnBrk="1" fontAlgn="auto" hangingPunct="1">
                <a:spcBef>
                  <a:spcPts val="0"/>
                </a:spcBef>
                <a:spcAft>
                  <a:spcPts val="0"/>
                </a:spcAft>
              </a:pPr>
              <a:endParaRPr lang="en-US" sz="975" b="1" dirty="0">
                <a:solidFill>
                  <a:prstClr val="white"/>
                </a:solidFill>
                <a:latin typeface="Calibri" panose="020F0502020204030204"/>
              </a:endParaRPr>
            </a:p>
          </p:txBody>
        </p:sp>
        <p:sp>
          <p:nvSpPr>
            <p:cNvPr id="15" name="Freeform: Shape 14">
              <a:extLst>
                <a:ext uri="{FF2B5EF4-FFF2-40B4-BE49-F238E27FC236}">
                  <a16:creationId xmlns:a16="http://schemas.microsoft.com/office/drawing/2014/main" id="{2C152486-ADB8-4828-98A0-E1791F32F691}"/>
                </a:ext>
              </a:extLst>
            </p:cNvPr>
            <p:cNvSpPr/>
            <p:nvPr/>
          </p:nvSpPr>
          <p:spPr>
            <a:xfrm>
              <a:off x="4316489" y="3512343"/>
              <a:ext cx="457200" cy="457200"/>
            </a:xfrm>
            <a:custGeom>
              <a:avLst/>
              <a:gdLst>
                <a:gd name="connsiteX0" fmla="*/ 37730 w 1530952"/>
                <a:gd name="connsiteY0" fmla="*/ 1753860 h 1760177"/>
                <a:gd name="connsiteX1" fmla="*/ 31019 w 1530952"/>
                <a:gd name="connsiteY1" fmla="*/ 1747490 h 1760177"/>
                <a:gd name="connsiteX2" fmla="*/ 30995 w 1530952"/>
                <a:gd name="connsiteY2" fmla="*/ 1137354 h 1760177"/>
                <a:gd name="connsiteX3" fmla="*/ 30970 w 1530952"/>
                <a:gd name="connsiteY3" fmla="*/ 527220 h 1760177"/>
                <a:gd name="connsiteX4" fmla="*/ 19905 w 1530952"/>
                <a:gd name="connsiteY4" fmla="*/ 453653 h 1760177"/>
                <a:gd name="connsiteX5" fmla="*/ 4973 w 1530952"/>
                <a:gd name="connsiteY5" fmla="*/ 297556 h 1760177"/>
                <a:gd name="connsiteX6" fmla="*/ 456695 w 1530952"/>
                <a:gd name="connsiteY6" fmla="*/ 200208 h 1760177"/>
                <a:gd name="connsiteX7" fmla="*/ 757315 w 1530952"/>
                <a:gd name="connsiteY7" fmla="*/ 139886 h 1760177"/>
                <a:gd name="connsiteX8" fmla="*/ 1201915 w 1530952"/>
                <a:gd name="connsiteY8" fmla="*/ 50550 h 1760177"/>
                <a:gd name="connsiteX9" fmla="*/ 1355390 w 1530952"/>
                <a:gd name="connsiteY9" fmla="*/ 19827 h 1760177"/>
                <a:gd name="connsiteX10" fmla="*/ 1458671 w 1530952"/>
                <a:gd name="connsiteY10" fmla="*/ 52 h 1760177"/>
                <a:gd name="connsiteX11" fmla="*/ 1470615 w 1530952"/>
                <a:gd name="connsiteY11" fmla="*/ 6412 h 1760177"/>
                <a:gd name="connsiteX12" fmla="*/ 1493469 w 1530952"/>
                <a:gd name="connsiteY12" fmla="*/ 119109 h 1760177"/>
                <a:gd name="connsiteX13" fmla="*/ 1507595 w 1530952"/>
                <a:gd name="connsiteY13" fmla="*/ 234469 h 1760177"/>
                <a:gd name="connsiteX14" fmla="*/ 1499589 w 1530952"/>
                <a:gd name="connsiteY14" fmla="*/ 247210 h 1760177"/>
                <a:gd name="connsiteX15" fmla="*/ 1214573 w 1530952"/>
                <a:gd name="connsiteY15" fmla="*/ 307177 h 1760177"/>
                <a:gd name="connsiteX16" fmla="*/ 1059517 w 1530952"/>
                <a:gd name="connsiteY16" fmla="*/ 338386 h 1760177"/>
                <a:gd name="connsiteX17" fmla="*/ 369740 w 1530952"/>
                <a:gd name="connsiteY17" fmla="*/ 476877 h 1760177"/>
                <a:gd name="connsiteX18" fmla="*/ 313045 w 1530952"/>
                <a:gd name="connsiteY18" fmla="*/ 489414 h 1760177"/>
                <a:gd name="connsiteX19" fmla="*/ 915007 w 1530952"/>
                <a:gd name="connsiteY19" fmla="*/ 491004 h 1760177"/>
                <a:gd name="connsiteX20" fmla="*/ 1524685 w 1530952"/>
                <a:gd name="connsiteY20" fmla="*/ 498277 h 1760177"/>
                <a:gd name="connsiteX21" fmla="*/ 1531014 w 1530952"/>
                <a:gd name="connsiteY21" fmla="*/ 1125610 h 1760177"/>
                <a:gd name="connsiteX22" fmla="*/ 1524685 w 1530952"/>
                <a:gd name="connsiteY22" fmla="*/ 1752954 h 1760177"/>
                <a:gd name="connsiteX23" fmla="*/ 1290518 w 1530952"/>
                <a:gd name="connsiteY23" fmla="*/ 1760203 h 1760177"/>
                <a:gd name="connsiteX24" fmla="*/ 1056351 w 1530952"/>
                <a:gd name="connsiteY24" fmla="*/ 1752954 h 1760177"/>
                <a:gd name="connsiteX25" fmla="*/ 1056071 w 1530952"/>
                <a:gd name="connsiteY25" fmla="*/ 1719706 h 1760177"/>
                <a:gd name="connsiteX26" fmla="*/ 1062120 w 1530952"/>
                <a:gd name="connsiteY26" fmla="*/ 1711120 h 1760177"/>
                <a:gd name="connsiteX27" fmla="*/ 1274417 w 1530952"/>
                <a:gd name="connsiteY27" fmla="*/ 1710134 h 1760177"/>
                <a:gd name="connsiteX28" fmla="*/ 1486711 w 1530952"/>
                <a:gd name="connsiteY28" fmla="*/ 1709148 h 1760177"/>
                <a:gd name="connsiteX29" fmla="*/ 1486711 w 1530952"/>
                <a:gd name="connsiteY29" fmla="*/ 1227363 h 1760177"/>
                <a:gd name="connsiteX30" fmla="*/ 1486711 w 1530952"/>
                <a:gd name="connsiteY30" fmla="*/ 745574 h 1760177"/>
                <a:gd name="connsiteX31" fmla="*/ 779465 w 1530952"/>
                <a:gd name="connsiteY31" fmla="*/ 745574 h 1760177"/>
                <a:gd name="connsiteX32" fmla="*/ 72220 w 1530952"/>
                <a:gd name="connsiteY32" fmla="*/ 745574 h 1760177"/>
                <a:gd name="connsiteX33" fmla="*/ 72220 w 1530952"/>
                <a:gd name="connsiteY33" fmla="*/ 1227363 h 1760177"/>
                <a:gd name="connsiteX34" fmla="*/ 72220 w 1530952"/>
                <a:gd name="connsiteY34" fmla="*/ 1709151 h 1760177"/>
                <a:gd name="connsiteX35" fmla="*/ 282935 w 1530952"/>
                <a:gd name="connsiteY35" fmla="*/ 1710137 h 1760177"/>
                <a:gd name="connsiteX36" fmla="*/ 493648 w 1530952"/>
                <a:gd name="connsiteY36" fmla="*/ 1711122 h 1760177"/>
                <a:gd name="connsiteX37" fmla="*/ 499697 w 1530952"/>
                <a:gd name="connsiteY37" fmla="*/ 1719708 h 1760177"/>
                <a:gd name="connsiteX38" fmla="*/ 499186 w 1530952"/>
                <a:gd name="connsiteY38" fmla="*/ 1750648 h 1760177"/>
                <a:gd name="connsiteX39" fmla="*/ 492626 w 1530952"/>
                <a:gd name="connsiteY39" fmla="*/ 1760230 h 1760177"/>
                <a:gd name="connsiteX40" fmla="*/ 268534 w 1530952"/>
                <a:gd name="connsiteY40" fmla="*/ 1760230 h 1760177"/>
                <a:gd name="connsiteX41" fmla="*/ 37730 w 1530952"/>
                <a:gd name="connsiteY41" fmla="*/ 1753860 h 1760177"/>
                <a:gd name="connsiteX42" fmla="*/ 292150 w 1530952"/>
                <a:gd name="connsiteY42" fmla="*/ 621378 h 1760177"/>
                <a:gd name="connsiteX43" fmla="*/ 343833 w 1530952"/>
                <a:gd name="connsiteY43" fmla="*/ 545007 h 1760177"/>
                <a:gd name="connsiteX44" fmla="*/ 208555 w 1530952"/>
                <a:gd name="connsiteY44" fmla="*/ 541918 h 1760177"/>
                <a:gd name="connsiteX45" fmla="*/ 72220 w 1530952"/>
                <a:gd name="connsiteY45" fmla="*/ 541918 h 1760177"/>
                <a:gd name="connsiteX46" fmla="*/ 72220 w 1530952"/>
                <a:gd name="connsiteY46" fmla="*/ 618289 h 1760177"/>
                <a:gd name="connsiteX47" fmla="*/ 72220 w 1530952"/>
                <a:gd name="connsiteY47" fmla="*/ 694660 h 1760177"/>
                <a:gd name="connsiteX48" fmla="*/ 156871 w 1530952"/>
                <a:gd name="connsiteY48" fmla="*/ 694660 h 1760177"/>
                <a:gd name="connsiteX49" fmla="*/ 241521 w 1530952"/>
                <a:gd name="connsiteY49" fmla="*/ 694660 h 1760177"/>
                <a:gd name="connsiteX50" fmla="*/ 596455 w 1530952"/>
                <a:gd name="connsiteY50" fmla="*/ 622833 h 1760177"/>
                <a:gd name="connsiteX51" fmla="*/ 649033 w 1530952"/>
                <a:gd name="connsiteY51" fmla="*/ 546462 h 1760177"/>
                <a:gd name="connsiteX52" fmla="*/ 527300 w 1530952"/>
                <a:gd name="connsiteY52" fmla="*/ 541918 h 1760177"/>
                <a:gd name="connsiteX53" fmla="*/ 402516 w 1530952"/>
                <a:gd name="connsiteY53" fmla="*/ 541918 h 1760177"/>
                <a:gd name="connsiteX54" fmla="*/ 349778 w 1530952"/>
                <a:gd name="connsiteY54" fmla="*/ 618289 h 1760177"/>
                <a:gd name="connsiteX55" fmla="*/ 297043 w 1530952"/>
                <a:gd name="connsiteY55" fmla="*/ 694660 h 1760177"/>
                <a:gd name="connsiteX56" fmla="*/ 421983 w 1530952"/>
                <a:gd name="connsiteY56" fmla="*/ 694660 h 1760177"/>
                <a:gd name="connsiteX57" fmla="*/ 546924 w 1530952"/>
                <a:gd name="connsiteY57" fmla="*/ 694660 h 1760177"/>
                <a:gd name="connsiteX58" fmla="*/ 905447 w 1530952"/>
                <a:gd name="connsiteY58" fmla="*/ 618289 h 1760177"/>
                <a:gd name="connsiteX59" fmla="*/ 958143 w 1530952"/>
                <a:gd name="connsiteY59" fmla="*/ 541918 h 1760177"/>
                <a:gd name="connsiteX60" fmla="*/ 833194 w 1530952"/>
                <a:gd name="connsiteY60" fmla="*/ 541918 h 1760177"/>
                <a:gd name="connsiteX61" fmla="*/ 708246 w 1530952"/>
                <a:gd name="connsiteY61" fmla="*/ 541918 h 1760177"/>
                <a:gd name="connsiteX62" fmla="*/ 658740 w 1530952"/>
                <a:gd name="connsiteY62" fmla="*/ 613742 h 1760177"/>
                <a:gd name="connsiteX63" fmla="*/ 606153 w 1530952"/>
                <a:gd name="connsiteY63" fmla="*/ 690113 h 1760177"/>
                <a:gd name="connsiteX64" fmla="*/ 727905 w 1530952"/>
                <a:gd name="connsiteY64" fmla="*/ 694660 h 1760177"/>
                <a:gd name="connsiteX65" fmla="*/ 852747 w 1530952"/>
                <a:gd name="connsiteY65" fmla="*/ 694660 h 1760177"/>
                <a:gd name="connsiteX66" fmla="*/ 1206662 w 1530952"/>
                <a:gd name="connsiteY66" fmla="*/ 625233 h 1760177"/>
                <a:gd name="connsiteX67" fmla="*/ 1258470 w 1530952"/>
                <a:gd name="connsiteY67" fmla="*/ 549035 h 1760177"/>
                <a:gd name="connsiteX68" fmla="*/ 1138222 w 1530952"/>
                <a:gd name="connsiteY68" fmla="*/ 541918 h 1760177"/>
                <a:gd name="connsiteX69" fmla="*/ 1013632 w 1530952"/>
                <a:gd name="connsiteY69" fmla="*/ 541918 h 1760177"/>
                <a:gd name="connsiteX70" fmla="*/ 963001 w 1530952"/>
                <a:gd name="connsiteY70" fmla="*/ 615288 h 1760177"/>
                <a:gd name="connsiteX71" fmla="*/ 911317 w 1530952"/>
                <a:gd name="connsiteY71" fmla="*/ 691659 h 1760177"/>
                <a:gd name="connsiteX72" fmla="*/ 1034728 w 1530952"/>
                <a:gd name="connsiteY72" fmla="*/ 694487 h 1760177"/>
                <a:gd name="connsiteX73" fmla="*/ 1159196 w 1530952"/>
                <a:gd name="connsiteY73" fmla="*/ 694322 h 1760177"/>
                <a:gd name="connsiteX74" fmla="*/ 1206662 w 1530952"/>
                <a:gd name="connsiteY74" fmla="*/ 625241 h 1760177"/>
                <a:gd name="connsiteX75" fmla="*/ 1486711 w 1530952"/>
                <a:gd name="connsiteY75" fmla="*/ 618289 h 1760177"/>
                <a:gd name="connsiteX76" fmla="*/ 1486711 w 1530952"/>
                <a:gd name="connsiteY76" fmla="*/ 541918 h 1760177"/>
                <a:gd name="connsiteX77" fmla="*/ 1403100 w 1530952"/>
                <a:gd name="connsiteY77" fmla="*/ 541918 h 1760177"/>
                <a:gd name="connsiteX78" fmla="*/ 1319489 w 1530952"/>
                <a:gd name="connsiteY78" fmla="*/ 541918 h 1760177"/>
                <a:gd name="connsiteX79" fmla="*/ 1271254 w 1530952"/>
                <a:gd name="connsiteY79" fmla="*/ 611924 h 1760177"/>
                <a:gd name="connsiteX80" fmla="*/ 1218304 w 1530952"/>
                <a:gd name="connsiteY80" fmla="*/ 688295 h 1760177"/>
                <a:gd name="connsiteX81" fmla="*/ 1350151 w 1530952"/>
                <a:gd name="connsiteY81" fmla="*/ 694660 h 1760177"/>
                <a:gd name="connsiteX82" fmla="*/ 1486711 w 1530952"/>
                <a:gd name="connsiteY82" fmla="*/ 694660 h 1760177"/>
                <a:gd name="connsiteX83" fmla="*/ 285027 w 1530952"/>
                <a:gd name="connsiteY83" fmla="*/ 443213 h 1760177"/>
                <a:gd name="connsiteX84" fmla="*/ 363345 w 1530952"/>
                <a:gd name="connsiteY84" fmla="*/ 425391 h 1760177"/>
                <a:gd name="connsiteX85" fmla="*/ 304533 w 1530952"/>
                <a:gd name="connsiteY85" fmla="*/ 358306 h 1760177"/>
                <a:gd name="connsiteX86" fmla="*/ 245722 w 1530952"/>
                <a:gd name="connsiteY86" fmla="*/ 293415 h 1760177"/>
                <a:gd name="connsiteX87" fmla="*/ 147105 w 1530952"/>
                <a:gd name="connsiteY87" fmla="*/ 312842 h 1760177"/>
                <a:gd name="connsiteX88" fmla="*/ 47307 w 1530952"/>
                <a:gd name="connsiteY88" fmla="*/ 333287 h 1760177"/>
                <a:gd name="connsiteX89" fmla="*/ 67975 w 1530952"/>
                <a:gd name="connsiteY89" fmla="*/ 478623 h 1760177"/>
                <a:gd name="connsiteX90" fmla="*/ 138101 w 1530952"/>
                <a:gd name="connsiteY90" fmla="*/ 472541 h 1760177"/>
                <a:gd name="connsiteX91" fmla="*/ 285027 w 1530952"/>
                <a:gd name="connsiteY91" fmla="*/ 443213 h 1760177"/>
                <a:gd name="connsiteX92" fmla="*/ 546355 w 1530952"/>
                <a:gd name="connsiteY92" fmla="*/ 390670 h 1760177"/>
                <a:gd name="connsiteX93" fmla="*/ 666340 w 1530952"/>
                <a:gd name="connsiteY93" fmla="*/ 365819 h 1760177"/>
                <a:gd name="connsiteX94" fmla="*/ 607188 w 1530952"/>
                <a:gd name="connsiteY94" fmla="*/ 298742 h 1760177"/>
                <a:gd name="connsiteX95" fmla="*/ 547242 w 1530952"/>
                <a:gd name="connsiteY95" fmla="*/ 232558 h 1760177"/>
                <a:gd name="connsiteX96" fmla="*/ 425094 w 1530952"/>
                <a:gd name="connsiteY96" fmla="*/ 257226 h 1760177"/>
                <a:gd name="connsiteX97" fmla="*/ 302293 w 1530952"/>
                <a:gd name="connsiteY97" fmla="*/ 284165 h 1760177"/>
                <a:gd name="connsiteX98" fmla="*/ 422942 w 1530952"/>
                <a:gd name="connsiteY98" fmla="*/ 414550 h 1760177"/>
                <a:gd name="connsiteX99" fmla="*/ 546355 w 1530952"/>
                <a:gd name="connsiteY99" fmla="*/ 390670 h 1760177"/>
                <a:gd name="connsiteX100" fmla="*/ 844337 w 1530952"/>
                <a:gd name="connsiteY100" fmla="*/ 330989 h 1760177"/>
                <a:gd name="connsiteX101" fmla="*/ 962396 w 1530952"/>
                <a:gd name="connsiteY101" fmla="*/ 306224 h 1760177"/>
                <a:gd name="connsiteX102" fmla="*/ 909670 w 1530952"/>
                <a:gd name="connsiteY102" fmla="*/ 239102 h 1760177"/>
                <a:gd name="connsiteX103" fmla="*/ 843821 w 1530952"/>
                <a:gd name="connsiteY103" fmla="*/ 174617 h 1760177"/>
                <a:gd name="connsiteX104" fmla="*/ 602193 w 1530952"/>
                <a:gd name="connsiteY104" fmla="*/ 222685 h 1760177"/>
                <a:gd name="connsiteX105" fmla="*/ 661955 w 1530952"/>
                <a:gd name="connsiteY105" fmla="*/ 289950 h 1760177"/>
                <a:gd name="connsiteX106" fmla="*/ 727255 w 1530952"/>
                <a:gd name="connsiteY106" fmla="*/ 354660 h 1760177"/>
                <a:gd name="connsiteX107" fmla="*/ 844337 w 1530952"/>
                <a:gd name="connsiteY107" fmla="*/ 330989 h 1760177"/>
                <a:gd name="connsiteX108" fmla="*/ 1153658 w 1530952"/>
                <a:gd name="connsiteY108" fmla="*/ 268684 h 1760177"/>
                <a:gd name="connsiteX109" fmla="*/ 1268368 w 1530952"/>
                <a:gd name="connsiteY109" fmla="*/ 243654 h 1760177"/>
                <a:gd name="connsiteX110" fmla="*/ 1157939 w 1530952"/>
                <a:gd name="connsiteY110" fmla="*/ 121635 h 1760177"/>
                <a:gd name="connsiteX111" fmla="*/ 1148065 w 1530952"/>
                <a:gd name="connsiteY111" fmla="*/ 112085 h 1760177"/>
                <a:gd name="connsiteX112" fmla="*/ 1027054 w 1530952"/>
                <a:gd name="connsiteY112" fmla="*/ 136391 h 1760177"/>
                <a:gd name="connsiteX113" fmla="*/ 904922 w 1530952"/>
                <a:gd name="connsiteY113" fmla="*/ 161967 h 1760177"/>
                <a:gd name="connsiteX114" fmla="*/ 942896 w 1530952"/>
                <a:gd name="connsiteY114" fmla="*/ 206276 h 1760177"/>
                <a:gd name="connsiteX115" fmla="*/ 1002556 w 1530952"/>
                <a:gd name="connsiteY115" fmla="*/ 272056 h 1760177"/>
                <a:gd name="connsiteX116" fmla="*/ 1031038 w 1530952"/>
                <a:gd name="connsiteY116" fmla="*/ 293199 h 1760177"/>
                <a:gd name="connsiteX117" fmla="*/ 1153658 w 1530952"/>
                <a:gd name="connsiteY117" fmla="*/ 268684 h 1760177"/>
                <a:gd name="connsiteX118" fmla="*/ 1395546 w 1530952"/>
                <a:gd name="connsiteY118" fmla="*/ 220126 h 1760177"/>
                <a:gd name="connsiteX119" fmla="*/ 1460651 w 1530952"/>
                <a:gd name="connsiteY119" fmla="*/ 205771 h 1760177"/>
                <a:gd name="connsiteX120" fmla="*/ 1438465 w 1530952"/>
                <a:gd name="connsiteY120" fmla="*/ 56127 h 1760177"/>
                <a:gd name="connsiteX121" fmla="*/ 1207580 w 1530952"/>
                <a:gd name="connsiteY121" fmla="*/ 101536 h 1760177"/>
                <a:gd name="connsiteX122" fmla="*/ 1327828 w 1530952"/>
                <a:gd name="connsiteY122" fmla="*/ 232789 h 1760177"/>
                <a:gd name="connsiteX123" fmla="*/ 1395546 w 1530952"/>
                <a:gd name="connsiteY123" fmla="*/ 220126 h 1760177"/>
                <a:gd name="connsiteX124" fmla="*/ 623531 w 1530952"/>
                <a:gd name="connsiteY124" fmla="*/ 1754547 h 1760177"/>
                <a:gd name="connsiteX125" fmla="*/ 616548 w 1530952"/>
                <a:gd name="connsiteY125" fmla="*/ 1737279 h 1760177"/>
                <a:gd name="connsiteX126" fmla="*/ 669660 w 1530952"/>
                <a:gd name="connsiteY126" fmla="*/ 1709302 h 1760177"/>
                <a:gd name="connsiteX127" fmla="*/ 712587 w 1530952"/>
                <a:gd name="connsiteY127" fmla="*/ 1716839 h 1760177"/>
                <a:gd name="connsiteX128" fmla="*/ 714597 w 1530952"/>
                <a:gd name="connsiteY128" fmla="*/ 1752954 h 1760177"/>
                <a:gd name="connsiteX129" fmla="*/ 669415 w 1530952"/>
                <a:gd name="connsiteY129" fmla="*/ 1760203 h 1760177"/>
                <a:gd name="connsiteX130" fmla="*/ 623531 w 1530952"/>
                <a:gd name="connsiteY130" fmla="*/ 1754547 h 1760177"/>
                <a:gd name="connsiteX131" fmla="*/ 838131 w 1530952"/>
                <a:gd name="connsiteY131" fmla="*/ 1752268 h 1760177"/>
                <a:gd name="connsiteX132" fmla="*/ 837722 w 1530952"/>
                <a:gd name="connsiteY132" fmla="*/ 1719706 h 1760177"/>
                <a:gd name="connsiteX133" fmla="*/ 882871 w 1530952"/>
                <a:gd name="connsiteY133" fmla="*/ 1709931 h 1760177"/>
                <a:gd name="connsiteX134" fmla="*/ 930622 w 1530952"/>
                <a:gd name="connsiteY134" fmla="*/ 1716559 h 1760177"/>
                <a:gd name="connsiteX135" fmla="*/ 932940 w 1530952"/>
                <a:gd name="connsiteY135" fmla="*/ 1752954 h 1760177"/>
                <a:gd name="connsiteX136" fmla="*/ 885597 w 1530952"/>
                <a:gd name="connsiteY136" fmla="*/ 1760203 h 1760177"/>
                <a:gd name="connsiteX137" fmla="*/ 838131 w 1530952"/>
                <a:gd name="connsiteY137" fmla="*/ 1752268 h 1760177"/>
                <a:gd name="connsiteX138" fmla="*/ 675730 w 1530952"/>
                <a:gd name="connsiteY138" fmla="*/ 1456999 h 1760177"/>
                <a:gd name="connsiteX139" fmla="*/ 619662 w 1530952"/>
                <a:gd name="connsiteY139" fmla="*/ 1383802 h 1760177"/>
                <a:gd name="connsiteX140" fmla="*/ 617125 w 1530952"/>
                <a:gd name="connsiteY140" fmla="*/ 1215946 h 1760177"/>
                <a:gd name="connsiteX141" fmla="*/ 639950 w 1530952"/>
                <a:gd name="connsiteY141" fmla="*/ 1026436 h 1760177"/>
                <a:gd name="connsiteX142" fmla="*/ 706502 w 1530952"/>
                <a:gd name="connsiteY142" fmla="*/ 997078 h 1760177"/>
                <a:gd name="connsiteX143" fmla="*/ 728982 w 1530952"/>
                <a:gd name="connsiteY143" fmla="*/ 998382 h 1760177"/>
                <a:gd name="connsiteX144" fmla="*/ 835874 w 1530952"/>
                <a:gd name="connsiteY144" fmla="*/ 1070711 h 1760177"/>
                <a:gd name="connsiteX145" fmla="*/ 955046 w 1530952"/>
                <a:gd name="connsiteY145" fmla="*/ 1153263 h 1760177"/>
                <a:gd name="connsiteX146" fmla="*/ 962015 w 1530952"/>
                <a:gd name="connsiteY146" fmla="*/ 1295600 h 1760177"/>
                <a:gd name="connsiteX147" fmla="*/ 736975 w 1530952"/>
                <a:gd name="connsiteY147" fmla="*/ 1450978 h 1760177"/>
                <a:gd name="connsiteX148" fmla="*/ 675730 w 1530952"/>
                <a:gd name="connsiteY148" fmla="*/ 1456999 h 1760177"/>
                <a:gd name="connsiteX149" fmla="*/ 822187 w 1530952"/>
                <a:gd name="connsiteY149" fmla="*/ 1336891 h 1760177"/>
                <a:gd name="connsiteX150" fmla="*/ 935024 w 1530952"/>
                <a:gd name="connsiteY150" fmla="*/ 1255831 h 1760177"/>
                <a:gd name="connsiteX151" fmla="*/ 930650 w 1530952"/>
                <a:gd name="connsiteY151" fmla="*/ 1195943 h 1760177"/>
                <a:gd name="connsiteX152" fmla="*/ 704547 w 1530952"/>
                <a:gd name="connsiteY152" fmla="*/ 1045219 h 1760177"/>
                <a:gd name="connsiteX153" fmla="*/ 666584 w 1530952"/>
                <a:gd name="connsiteY153" fmla="*/ 1069465 h 1760177"/>
                <a:gd name="connsiteX154" fmla="*/ 660802 w 1530952"/>
                <a:gd name="connsiteY154" fmla="*/ 1228469 h 1760177"/>
                <a:gd name="connsiteX155" fmla="*/ 680733 w 1530952"/>
                <a:gd name="connsiteY155" fmla="*/ 1404176 h 1760177"/>
                <a:gd name="connsiteX156" fmla="*/ 822187 w 1530952"/>
                <a:gd name="connsiteY156" fmla="*/ 1336891 h 1760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1530952" h="1760177">
                  <a:moveTo>
                    <a:pt x="37730" y="1753860"/>
                  </a:moveTo>
                  <a:lnTo>
                    <a:pt x="31019" y="1747490"/>
                  </a:lnTo>
                  <a:lnTo>
                    <a:pt x="30995" y="1137354"/>
                  </a:lnTo>
                  <a:lnTo>
                    <a:pt x="30970" y="527220"/>
                  </a:lnTo>
                  <a:lnTo>
                    <a:pt x="19905" y="453653"/>
                  </a:lnTo>
                  <a:cubicBezTo>
                    <a:pt x="-3717" y="296623"/>
                    <a:pt x="-2778" y="306463"/>
                    <a:pt x="4973" y="297556"/>
                  </a:cubicBezTo>
                  <a:cubicBezTo>
                    <a:pt x="12362" y="289063"/>
                    <a:pt x="9935" y="289585"/>
                    <a:pt x="456695" y="200208"/>
                  </a:cubicBezTo>
                  <a:cubicBezTo>
                    <a:pt x="568083" y="177923"/>
                    <a:pt x="703361" y="150779"/>
                    <a:pt x="757315" y="139886"/>
                  </a:cubicBezTo>
                  <a:cubicBezTo>
                    <a:pt x="945200" y="101959"/>
                    <a:pt x="1146909" y="61426"/>
                    <a:pt x="1201915" y="50550"/>
                  </a:cubicBezTo>
                  <a:cubicBezTo>
                    <a:pt x="1232374" y="44528"/>
                    <a:pt x="1301435" y="30704"/>
                    <a:pt x="1355390" y="19827"/>
                  </a:cubicBezTo>
                  <a:cubicBezTo>
                    <a:pt x="1409341" y="8952"/>
                    <a:pt x="1455819" y="52"/>
                    <a:pt x="1458671" y="52"/>
                  </a:cubicBezTo>
                  <a:cubicBezTo>
                    <a:pt x="1461527" y="50"/>
                    <a:pt x="1466900" y="2911"/>
                    <a:pt x="1470615" y="6412"/>
                  </a:cubicBezTo>
                  <a:cubicBezTo>
                    <a:pt x="1476406" y="11868"/>
                    <a:pt x="1479668" y="27947"/>
                    <a:pt x="1493469" y="119109"/>
                  </a:cubicBezTo>
                  <a:cubicBezTo>
                    <a:pt x="1502346" y="177734"/>
                    <a:pt x="1508683" y="229491"/>
                    <a:pt x="1507595" y="234469"/>
                  </a:cubicBezTo>
                  <a:cubicBezTo>
                    <a:pt x="1506511" y="239434"/>
                    <a:pt x="1502908" y="245167"/>
                    <a:pt x="1499589" y="247210"/>
                  </a:cubicBezTo>
                  <a:cubicBezTo>
                    <a:pt x="1493683" y="250842"/>
                    <a:pt x="1421096" y="266114"/>
                    <a:pt x="1214573" y="307177"/>
                  </a:cubicBezTo>
                  <a:cubicBezTo>
                    <a:pt x="1158007" y="318424"/>
                    <a:pt x="1088235" y="332469"/>
                    <a:pt x="1059517" y="338386"/>
                  </a:cubicBezTo>
                  <a:cubicBezTo>
                    <a:pt x="1005961" y="349426"/>
                    <a:pt x="469035" y="457228"/>
                    <a:pt x="369740" y="476877"/>
                  </a:cubicBezTo>
                  <a:cubicBezTo>
                    <a:pt x="339319" y="482898"/>
                    <a:pt x="313806" y="488538"/>
                    <a:pt x="313045" y="489414"/>
                  </a:cubicBezTo>
                  <a:cubicBezTo>
                    <a:pt x="312284" y="490290"/>
                    <a:pt x="583168" y="491004"/>
                    <a:pt x="915007" y="491004"/>
                  </a:cubicBezTo>
                  <a:cubicBezTo>
                    <a:pt x="1514136" y="491004"/>
                    <a:pt x="1518400" y="491058"/>
                    <a:pt x="1524685" y="498277"/>
                  </a:cubicBezTo>
                  <a:cubicBezTo>
                    <a:pt x="1530965" y="505493"/>
                    <a:pt x="1531014" y="510400"/>
                    <a:pt x="1531014" y="1125610"/>
                  </a:cubicBezTo>
                  <a:cubicBezTo>
                    <a:pt x="1531014" y="1740818"/>
                    <a:pt x="1530965" y="1745733"/>
                    <a:pt x="1524685" y="1752954"/>
                  </a:cubicBezTo>
                  <a:cubicBezTo>
                    <a:pt x="1518474" y="1760093"/>
                    <a:pt x="1514136" y="1760203"/>
                    <a:pt x="1290518" y="1760203"/>
                  </a:cubicBezTo>
                  <a:cubicBezTo>
                    <a:pt x="1066900" y="1760203"/>
                    <a:pt x="1062565" y="1760066"/>
                    <a:pt x="1056351" y="1752954"/>
                  </a:cubicBezTo>
                  <a:cubicBezTo>
                    <a:pt x="1048375" y="1743783"/>
                    <a:pt x="1048265" y="1730787"/>
                    <a:pt x="1056071" y="1719706"/>
                  </a:cubicBezTo>
                  <a:lnTo>
                    <a:pt x="1062120" y="1711120"/>
                  </a:lnTo>
                  <a:lnTo>
                    <a:pt x="1274417" y="1710134"/>
                  </a:lnTo>
                  <a:lnTo>
                    <a:pt x="1486711" y="1709148"/>
                  </a:lnTo>
                  <a:lnTo>
                    <a:pt x="1486711" y="1227363"/>
                  </a:lnTo>
                  <a:lnTo>
                    <a:pt x="1486711" y="745574"/>
                  </a:lnTo>
                  <a:lnTo>
                    <a:pt x="779465" y="745574"/>
                  </a:lnTo>
                  <a:lnTo>
                    <a:pt x="72220" y="745574"/>
                  </a:lnTo>
                  <a:lnTo>
                    <a:pt x="72220" y="1227363"/>
                  </a:lnTo>
                  <a:lnTo>
                    <a:pt x="72220" y="1709151"/>
                  </a:lnTo>
                  <a:lnTo>
                    <a:pt x="282935" y="1710137"/>
                  </a:lnTo>
                  <a:lnTo>
                    <a:pt x="493648" y="1711122"/>
                  </a:lnTo>
                  <a:lnTo>
                    <a:pt x="499697" y="1719708"/>
                  </a:lnTo>
                  <a:cubicBezTo>
                    <a:pt x="507470" y="1730741"/>
                    <a:pt x="507338" y="1738726"/>
                    <a:pt x="499186" y="1750648"/>
                  </a:cubicBezTo>
                  <a:lnTo>
                    <a:pt x="492626" y="1760230"/>
                  </a:lnTo>
                  <a:lnTo>
                    <a:pt x="268534" y="1760230"/>
                  </a:lnTo>
                  <a:cubicBezTo>
                    <a:pt x="59778" y="1760230"/>
                    <a:pt x="43982" y="1759791"/>
                    <a:pt x="37730" y="1753860"/>
                  </a:cubicBezTo>
                  <a:close/>
                  <a:moveTo>
                    <a:pt x="292150" y="621378"/>
                  </a:moveTo>
                  <a:cubicBezTo>
                    <a:pt x="319995" y="581073"/>
                    <a:pt x="343251" y="546707"/>
                    <a:pt x="343833" y="545007"/>
                  </a:cubicBezTo>
                  <a:cubicBezTo>
                    <a:pt x="344413" y="543308"/>
                    <a:pt x="283536" y="541918"/>
                    <a:pt x="208555" y="541918"/>
                  </a:cubicBezTo>
                  <a:lnTo>
                    <a:pt x="72220" y="541918"/>
                  </a:lnTo>
                  <a:lnTo>
                    <a:pt x="72220" y="618289"/>
                  </a:lnTo>
                  <a:lnTo>
                    <a:pt x="72220" y="694660"/>
                  </a:lnTo>
                  <a:lnTo>
                    <a:pt x="156871" y="694660"/>
                  </a:lnTo>
                  <a:lnTo>
                    <a:pt x="241521" y="694660"/>
                  </a:lnTo>
                  <a:close/>
                  <a:moveTo>
                    <a:pt x="596455" y="622833"/>
                  </a:moveTo>
                  <a:cubicBezTo>
                    <a:pt x="623695" y="583330"/>
                    <a:pt x="647356" y="548964"/>
                    <a:pt x="649033" y="546462"/>
                  </a:cubicBezTo>
                  <a:cubicBezTo>
                    <a:pt x="651461" y="542843"/>
                    <a:pt x="626642" y="541918"/>
                    <a:pt x="527300" y="541918"/>
                  </a:cubicBezTo>
                  <a:lnTo>
                    <a:pt x="402516" y="541918"/>
                  </a:lnTo>
                  <a:lnTo>
                    <a:pt x="349778" y="618289"/>
                  </a:lnTo>
                  <a:lnTo>
                    <a:pt x="297043" y="694660"/>
                  </a:lnTo>
                  <a:lnTo>
                    <a:pt x="421983" y="694660"/>
                  </a:lnTo>
                  <a:lnTo>
                    <a:pt x="546924" y="694660"/>
                  </a:lnTo>
                  <a:close/>
                  <a:moveTo>
                    <a:pt x="905447" y="618289"/>
                  </a:moveTo>
                  <a:lnTo>
                    <a:pt x="958143" y="541918"/>
                  </a:lnTo>
                  <a:lnTo>
                    <a:pt x="833194" y="541918"/>
                  </a:lnTo>
                  <a:lnTo>
                    <a:pt x="708246" y="541918"/>
                  </a:lnTo>
                  <a:lnTo>
                    <a:pt x="658740" y="613742"/>
                  </a:lnTo>
                  <a:cubicBezTo>
                    <a:pt x="631513" y="653245"/>
                    <a:pt x="607847" y="687614"/>
                    <a:pt x="606153" y="690113"/>
                  </a:cubicBezTo>
                  <a:cubicBezTo>
                    <a:pt x="603695" y="693731"/>
                    <a:pt x="628498" y="694660"/>
                    <a:pt x="727905" y="694660"/>
                  </a:cubicBezTo>
                  <a:lnTo>
                    <a:pt x="852747" y="694660"/>
                  </a:lnTo>
                  <a:close/>
                  <a:moveTo>
                    <a:pt x="1206662" y="625233"/>
                  </a:moveTo>
                  <a:cubicBezTo>
                    <a:pt x="1232769" y="587240"/>
                    <a:pt x="1256081" y="552948"/>
                    <a:pt x="1258470" y="549035"/>
                  </a:cubicBezTo>
                  <a:cubicBezTo>
                    <a:pt x="1262756" y="542006"/>
                    <a:pt x="1261270" y="541918"/>
                    <a:pt x="1138222" y="541918"/>
                  </a:cubicBezTo>
                  <a:lnTo>
                    <a:pt x="1013632" y="541918"/>
                  </a:lnTo>
                  <a:lnTo>
                    <a:pt x="963001" y="615288"/>
                  </a:lnTo>
                  <a:cubicBezTo>
                    <a:pt x="935156" y="655642"/>
                    <a:pt x="911896" y="690008"/>
                    <a:pt x="911317" y="691659"/>
                  </a:cubicBezTo>
                  <a:cubicBezTo>
                    <a:pt x="910738" y="693309"/>
                    <a:pt x="966271" y="694583"/>
                    <a:pt x="1034728" y="694487"/>
                  </a:cubicBezTo>
                  <a:lnTo>
                    <a:pt x="1159196" y="694322"/>
                  </a:lnTo>
                  <a:lnTo>
                    <a:pt x="1206662" y="625241"/>
                  </a:lnTo>
                  <a:close/>
                  <a:moveTo>
                    <a:pt x="1486711" y="618289"/>
                  </a:moveTo>
                  <a:lnTo>
                    <a:pt x="1486711" y="541918"/>
                  </a:lnTo>
                  <a:lnTo>
                    <a:pt x="1403100" y="541918"/>
                  </a:lnTo>
                  <a:lnTo>
                    <a:pt x="1319489" y="541918"/>
                  </a:lnTo>
                  <a:lnTo>
                    <a:pt x="1271254" y="611924"/>
                  </a:lnTo>
                  <a:cubicBezTo>
                    <a:pt x="1244724" y="650428"/>
                    <a:pt x="1220897" y="684794"/>
                    <a:pt x="1218304" y="688295"/>
                  </a:cubicBezTo>
                  <a:cubicBezTo>
                    <a:pt x="1213826" y="694341"/>
                    <a:pt x="1220408" y="694660"/>
                    <a:pt x="1350151" y="694660"/>
                  </a:cubicBezTo>
                  <a:lnTo>
                    <a:pt x="1486711" y="694660"/>
                  </a:lnTo>
                  <a:close/>
                  <a:moveTo>
                    <a:pt x="285027" y="443213"/>
                  </a:moveTo>
                  <a:cubicBezTo>
                    <a:pt x="328103" y="434616"/>
                    <a:pt x="363345" y="426599"/>
                    <a:pt x="363345" y="425391"/>
                  </a:cubicBezTo>
                  <a:cubicBezTo>
                    <a:pt x="363345" y="424185"/>
                    <a:pt x="336881" y="393996"/>
                    <a:pt x="304533" y="358306"/>
                  </a:cubicBezTo>
                  <a:lnTo>
                    <a:pt x="245722" y="293415"/>
                  </a:lnTo>
                  <a:lnTo>
                    <a:pt x="147105" y="312842"/>
                  </a:lnTo>
                  <a:cubicBezTo>
                    <a:pt x="92865" y="323526"/>
                    <a:pt x="47955" y="332727"/>
                    <a:pt x="47307" y="333287"/>
                  </a:cubicBezTo>
                  <a:cubicBezTo>
                    <a:pt x="46275" y="334179"/>
                    <a:pt x="63949" y="458480"/>
                    <a:pt x="67975" y="478623"/>
                  </a:cubicBezTo>
                  <a:cubicBezTo>
                    <a:pt x="69493" y="486220"/>
                    <a:pt x="69702" y="486201"/>
                    <a:pt x="138101" y="472541"/>
                  </a:cubicBezTo>
                  <a:cubicBezTo>
                    <a:pt x="175836" y="465007"/>
                    <a:pt x="241952" y="451808"/>
                    <a:pt x="285027" y="443213"/>
                  </a:cubicBezTo>
                  <a:close/>
                  <a:moveTo>
                    <a:pt x="546355" y="390670"/>
                  </a:moveTo>
                  <a:cubicBezTo>
                    <a:pt x="611911" y="377494"/>
                    <a:pt x="665903" y="366310"/>
                    <a:pt x="666340" y="365819"/>
                  </a:cubicBezTo>
                  <a:cubicBezTo>
                    <a:pt x="666776" y="365327"/>
                    <a:pt x="640156" y="335146"/>
                    <a:pt x="607188" y="298742"/>
                  </a:cubicBezTo>
                  <a:lnTo>
                    <a:pt x="547242" y="232558"/>
                  </a:lnTo>
                  <a:lnTo>
                    <a:pt x="425094" y="257226"/>
                  </a:lnTo>
                  <a:cubicBezTo>
                    <a:pt x="357911" y="270793"/>
                    <a:pt x="302650" y="282916"/>
                    <a:pt x="302293" y="284165"/>
                  </a:cubicBezTo>
                  <a:cubicBezTo>
                    <a:pt x="301225" y="287883"/>
                    <a:pt x="418353" y="414465"/>
                    <a:pt x="422942" y="414550"/>
                  </a:cubicBezTo>
                  <a:cubicBezTo>
                    <a:pt x="425264" y="414605"/>
                    <a:pt x="480798" y="403850"/>
                    <a:pt x="546355" y="390670"/>
                  </a:cubicBezTo>
                  <a:close/>
                  <a:moveTo>
                    <a:pt x="844337" y="330989"/>
                  </a:moveTo>
                  <a:cubicBezTo>
                    <a:pt x="906122" y="318814"/>
                    <a:pt x="959250" y="307669"/>
                    <a:pt x="962396" y="306224"/>
                  </a:cubicBezTo>
                  <a:cubicBezTo>
                    <a:pt x="967078" y="304075"/>
                    <a:pt x="957479" y="291853"/>
                    <a:pt x="909670" y="239102"/>
                  </a:cubicBezTo>
                  <a:cubicBezTo>
                    <a:pt x="867939" y="193061"/>
                    <a:pt x="849101" y="174612"/>
                    <a:pt x="843821" y="174617"/>
                  </a:cubicBezTo>
                  <a:cubicBezTo>
                    <a:pt x="836135" y="174623"/>
                    <a:pt x="603580" y="220886"/>
                    <a:pt x="602193" y="222685"/>
                  </a:cubicBezTo>
                  <a:cubicBezTo>
                    <a:pt x="601759" y="223245"/>
                    <a:pt x="628652" y="253514"/>
                    <a:pt x="661955" y="289950"/>
                  </a:cubicBezTo>
                  <a:cubicBezTo>
                    <a:pt x="698858" y="330319"/>
                    <a:pt x="724361" y="355593"/>
                    <a:pt x="727255" y="354660"/>
                  </a:cubicBezTo>
                  <a:cubicBezTo>
                    <a:pt x="729863" y="353817"/>
                    <a:pt x="782552" y="343166"/>
                    <a:pt x="844337" y="330989"/>
                  </a:cubicBezTo>
                  <a:close/>
                  <a:moveTo>
                    <a:pt x="1153658" y="268684"/>
                  </a:moveTo>
                  <a:cubicBezTo>
                    <a:pt x="1216748" y="256084"/>
                    <a:pt x="1268368" y="244821"/>
                    <a:pt x="1268368" y="243654"/>
                  </a:cubicBezTo>
                  <a:cubicBezTo>
                    <a:pt x="1268368" y="241383"/>
                    <a:pt x="1174408" y="137558"/>
                    <a:pt x="1157939" y="121635"/>
                  </a:cubicBezTo>
                  <a:lnTo>
                    <a:pt x="1148065" y="112085"/>
                  </a:lnTo>
                  <a:lnTo>
                    <a:pt x="1027054" y="136391"/>
                  </a:lnTo>
                  <a:cubicBezTo>
                    <a:pt x="960499" y="149760"/>
                    <a:pt x="905540" y="161267"/>
                    <a:pt x="904922" y="161967"/>
                  </a:cubicBezTo>
                  <a:cubicBezTo>
                    <a:pt x="904307" y="162668"/>
                    <a:pt x="921397" y="182607"/>
                    <a:pt x="942896" y="206276"/>
                  </a:cubicBezTo>
                  <a:cubicBezTo>
                    <a:pt x="964398" y="229944"/>
                    <a:pt x="991244" y="259547"/>
                    <a:pt x="1002556" y="272056"/>
                  </a:cubicBezTo>
                  <a:cubicBezTo>
                    <a:pt x="1019006" y="290250"/>
                    <a:pt x="1024709" y="294484"/>
                    <a:pt x="1031038" y="293199"/>
                  </a:cubicBezTo>
                  <a:cubicBezTo>
                    <a:pt x="1035387" y="292314"/>
                    <a:pt x="1090566" y="281285"/>
                    <a:pt x="1153658" y="268684"/>
                  </a:cubicBezTo>
                  <a:close/>
                  <a:moveTo>
                    <a:pt x="1395546" y="220126"/>
                  </a:moveTo>
                  <a:cubicBezTo>
                    <a:pt x="1430549" y="213157"/>
                    <a:pt x="1459847" y="206696"/>
                    <a:pt x="1460651" y="205771"/>
                  </a:cubicBezTo>
                  <a:cubicBezTo>
                    <a:pt x="1462364" y="203805"/>
                    <a:pt x="1440882" y="58900"/>
                    <a:pt x="1438465" y="56127"/>
                  </a:cubicBezTo>
                  <a:cubicBezTo>
                    <a:pt x="1436532" y="53902"/>
                    <a:pt x="1210844" y="98290"/>
                    <a:pt x="1207580" y="101536"/>
                  </a:cubicBezTo>
                  <a:cubicBezTo>
                    <a:pt x="1204716" y="104381"/>
                    <a:pt x="1322350" y="232778"/>
                    <a:pt x="1327828" y="232789"/>
                  </a:cubicBezTo>
                  <a:cubicBezTo>
                    <a:pt x="1330071" y="232795"/>
                    <a:pt x="1360546" y="227094"/>
                    <a:pt x="1395546" y="220126"/>
                  </a:cubicBezTo>
                  <a:close/>
                  <a:moveTo>
                    <a:pt x="623531" y="1754547"/>
                  </a:moveTo>
                  <a:cubicBezTo>
                    <a:pt x="618737" y="1750703"/>
                    <a:pt x="616515" y="1745211"/>
                    <a:pt x="616548" y="1737279"/>
                  </a:cubicBezTo>
                  <a:cubicBezTo>
                    <a:pt x="616644" y="1713931"/>
                    <a:pt x="625436" y="1709302"/>
                    <a:pt x="669660" y="1709302"/>
                  </a:cubicBezTo>
                  <a:cubicBezTo>
                    <a:pt x="699860" y="1709302"/>
                    <a:pt x="705308" y="1710258"/>
                    <a:pt x="712587" y="1716839"/>
                  </a:cubicBezTo>
                  <a:cubicBezTo>
                    <a:pt x="722787" y="1726059"/>
                    <a:pt x="723702" y="1742465"/>
                    <a:pt x="714597" y="1752954"/>
                  </a:cubicBezTo>
                  <a:cubicBezTo>
                    <a:pt x="708954" y="1759434"/>
                    <a:pt x="704047" y="1760203"/>
                    <a:pt x="669415" y="1760203"/>
                  </a:cubicBezTo>
                  <a:cubicBezTo>
                    <a:pt x="639374" y="1760203"/>
                    <a:pt x="628970" y="1758940"/>
                    <a:pt x="623531" y="1754547"/>
                  </a:cubicBezTo>
                  <a:close/>
                  <a:moveTo>
                    <a:pt x="838131" y="1752268"/>
                  </a:moveTo>
                  <a:cubicBezTo>
                    <a:pt x="830053" y="1742301"/>
                    <a:pt x="829908" y="1730807"/>
                    <a:pt x="837722" y="1719706"/>
                  </a:cubicBezTo>
                  <a:cubicBezTo>
                    <a:pt x="843384" y="1711658"/>
                    <a:pt x="846209" y="1711046"/>
                    <a:pt x="882871" y="1709931"/>
                  </a:cubicBezTo>
                  <a:cubicBezTo>
                    <a:pt x="918950" y="1708835"/>
                    <a:pt x="922646" y="1709349"/>
                    <a:pt x="930622" y="1716559"/>
                  </a:cubicBezTo>
                  <a:cubicBezTo>
                    <a:pt x="941133" y="1726059"/>
                    <a:pt x="942168" y="1742328"/>
                    <a:pt x="932940" y="1752954"/>
                  </a:cubicBezTo>
                  <a:cubicBezTo>
                    <a:pt x="927262" y="1759462"/>
                    <a:pt x="922393" y="1760203"/>
                    <a:pt x="885597" y="1760203"/>
                  </a:cubicBezTo>
                  <a:cubicBezTo>
                    <a:pt x="847481" y="1760203"/>
                    <a:pt x="844128" y="1759654"/>
                    <a:pt x="838131" y="1752268"/>
                  </a:cubicBezTo>
                  <a:close/>
                  <a:moveTo>
                    <a:pt x="675730" y="1456999"/>
                  </a:moveTo>
                  <a:cubicBezTo>
                    <a:pt x="645958" y="1444242"/>
                    <a:pt x="625832" y="1417968"/>
                    <a:pt x="619662" y="1383802"/>
                  </a:cubicBezTo>
                  <a:cubicBezTo>
                    <a:pt x="617347" y="1370993"/>
                    <a:pt x="616490" y="1314365"/>
                    <a:pt x="617125" y="1215946"/>
                  </a:cubicBezTo>
                  <a:cubicBezTo>
                    <a:pt x="618187" y="1051090"/>
                    <a:pt x="617756" y="1054670"/>
                    <a:pt x="639950" y="1026436"/>
                  </a:cubicBezTo>
                  <a:cubicBezTo>
                    <a:pt x="656741" y="1005076"/>
                    <a:pt x="678553" y="995455"/>
                    <a:pt x="706502" y="997078"/>
                  </a:cubicBezTo>
                  <a:lnTo>
                    <a:pt x="728982" y="998382"/>
                  </a:lnTo>
                  <a:lnTo>
                    <a:pt x="835874" y="1070711"/>
                  </a:lnTo>
                  <a:cubicBezTo>
                    <a:pt x="894664" y="1110492"/>
                    <a:pt x="948291" y="1147642"/>
                    <a:pt x="955046" y="1153263"/>
                  </a:cubicBezTo>
                  <a:cubicBezTo>
                    <a:pt x="993844" y="1185564"/>
                    <a:pt x="997331" y="1256770"/>
                    <a:pt x="962015" y="1295600"/>
                  </a:cubicBezTo>
                  <a:cubicBezTo>
                    <a:pt x="951902" y="1306721"/>
                    <a:pt x="776225" y="1428015"/>
                    <a:pt x="736975" y="1450978"/>
                  </a:cubicBezTo>
                  <a:cubicBezTo>
                    <a:pt x="719536" y="1461181"/>
                    <a:pt x="691843" y="1463905"/>
                    <a:pt x="675730" y="1456999"/>
                  </a:cubicBezTo>
                  <a:close/>
                  <a:moveTo>
                    <a:pt x="822187" y="1336891"/>
                  </a:moveTo>
                  <a:cubicBezTo>
                    <a:pt x="880490" y="1297531"/>
                    <a:pt x="931268" y="1261053"/>
                    <a:pt x="935024" y="1255831"/>
                  </a:cubicBezTo>
                  <a:cubicBezTo>
                    <a:pt x="947767" y="1238115"/>
                    <a:pt x="945875" y="1212233"/>
                    <a:pt x="930650" y="1195943"/>
                  </a:cubicBezTo>
                  <a:cubicBezTo>
                    <a:pt x="916531" y="1180838"/>
                    <a:pt x="716104" y="1047229"/>
                    <a:pt x="704547" y="1045219"/>
                  </a:cubicBezTo>
                  <a:cubicBezTo>
                    <a:pt x="690665" y="1042806"/>
                    <a:pt x="674080" y="1053397"/>
                    <a:pt x="666584" y="1069465"/>
                  </a:cubicBezTo>
                  <a:cubicBezTo>
                    <a:pt x="661257" y="1080876"/>
                    <a:pt x="660802" y="1093419"/>
                    <a:pt x="660802" y="1228469"/>
                  </a:cubicBezTo>
                  <a:cubicBezTo>
                    <a:pt x="660802" y="1390302"/>
                    <a:pt x="660738" y="1389747"/>
                    <a:pt x="680733" y="1404176"/>
                  </a:cubicBezTo>
                  <a:cubicBezTo>
                    <a:pt x="699868" y="1417990"/>
                    <a:pt x="707287" y="1414459"/>
                    <a:pt x="822187" y="1336891"/>
                  </a:cubicBezTo>
                  <a:close/>
                </a:path>
              </a:pathLst>
            </a:custGeom>
            <a:solidFill>
              <a:schemeClr val="bg1"/>
            </a:solidFill>
            <a:ln w="3386" cap="flat">
              <a:noFill/>
              <a:prstDash val="solid"/>
              <a:miter/>
            </a:ln>
          </p:spPr>
          <p:txBody>
            <a:bodyPr rtlCol="0" anchor="ctr"/>
            <a:lstStyle/>
            <a:p>
              <a:endParaRPr lang="en-IN" dirty="0"/>
            </a:p>
          </p:txBody>
        </p:sp>
      </p:grpSp>
      <p:sp>
        <p:nvSpPr>
          <p:cNvPr id="46" name="Oval 45">
            <a:extLst>
              <a:ext uri="{FF2B5EF4-FFF2-40B4-BE49-F238E27FC236}">
                <a16:creationId xmlns:a16="http://schemas.microsoft.com/office/drawing/2014/main" id="{9C3ED7B4-6CB9-407C-867F-8C117D513273}"/>
              </a:ext>
            </a:extLst>
          </p:cNvPr>
          <p:cNvSpPr/>
          <p:nvPr/>
        </p:nvSpPr>
        <p:spPr>
          <a:xfrm flipH="1">
            <a:off x="5019039" y="4410752"/>
            <a:ext cx="731520" cy="731520"/>
          </a:xfrm>
          <a:prstGeom prst="ellipse">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eaLnBrk="1" fontAlgn="auto" hangingPunct="1">
              <a:spcBef>
                <a:spcPts val="0"/>
              </a:spcBef>
              <a:spcAft>
                <a:spcPts val="0"/>
              </a:spcAft>
            </a:pPr>
            <a:endParaRPr lang="en-US" sz="975" b="1" dirty="0">
              <a:solidFill>
                <a:prstClr val="white"/>
              </a:solidFill>
              <a:latin typeface="Calibri" panose="020F0502020204030204"/>
            </a:endParaRPr>
          </a:p>
        </p:txBody>
      </p:sp>
      <p:sp>
        <p:nvSpPr>
          <p:cNvPr id="17" name="Freeform: Shape 16">
            <a:extLst>
              <a:ext uri="{FF2B5EF4-FFF2-40B4-BE49-F238E27FC236}">
                <a16:creationId xmlns:a16="http://schemas.microsoft.com/office/drawing/2014/main" id="{5AC87AE4-935A-4111-ADFD-FB092F08BFCD}"/>
              </a:ext>
            </a:extLst>
          </p:cNvPr>
          <p:cNvSpPr/>
          <p:nvPr/>
        </p:nvSpPr>
        <p:spPr>
          <a:xfrm>
            <a:off x="5183631" y="4573312"/>
            <a:ext cx="402336" cy="406400"/>
          </a:xfrm>
          <a:custGeom>
            <a:avLst/>
            <a:gdLst>
              <a:gd name="connsiteX0" fmla="*/ 61849 w 1674165"/>
              <a:gd name="connsiteY0" fmla="*/ 1606016 h 1608746"/>
              <a:gd name="connsiteX1" fmla="*/ 4605 w 1674165"/>
              <a:gd name="connsiteY1" fmla="*/ 1551238 h 1608746"/>
              <a:gd name="connsiteX2" fmla="*/ 385 w 1674165"/>
              <a:gd name="connsiteY2" fmla="*/ 1408898 h 1608746"/>
              <a:gd name="connsiteX3" fmla="*/ 8419 w 1674165"/>
              <a:gd name="connsiteY3" fmla="*/ 1271088 h 1608746"/>
              <a:gd name="connsiteX4" fmla="*/ 52055 w 1674165"/>
              <a:gd name="connsiteY4" fmla="*/ 1232043 h 1608746"/>
              <a:gd name="connsiteX5" fmla="*/ 230367 w 1674165"/>
              <a:gd name="connsiteY5" fmla="*/ 1225480 h 1608746"/>
              <a:gd name="connsiteX6" fmla="*/ 393954 w 1674165"/>
              <a:gd name="connsiteY6" fmla="*/ 1225316 h 1608746"/>
              <a:gd name="connsiteX7" fmla="*/ 380868 w 1674165"/>
              <a:gd name="connsiteY7" fmla="*/ 1215321 h 1608746"/>
              <a:gd name="connsiteX8" fmla="*/ 278877 w 1674165"/>
              <a:gd name="connsiteY8" fmla="*/ 1117105 h 1608746"/>
              <a:gd name="connsiteX9" fmla="*/ 142157 w 1674165"/>
              <a:gd name="connsiteY9" fmla="*/ 511307 h 1608746"/>
              <a:gd name="connsiteX10" fmla="*/ 498214 w 1674165"/>
              <a:gd name="connsiteY10" fmla="*/ 79783 h 1608746"/>
              <a:gd name="connsiteX11" fmla="*/ 1060689 w 1674165"/>
              <a:gd name="connsiteY11" fmla="*/ 36454 h 1608746"/>
              <a:gd name="connsiteX12" fmla="*/ 1195152 w 1674165"/>
              <a:gd name="connsiteY12" fmla="*/ 100706 h 1608746"/>
              <a:gd name="connsiteX13" fmla="*/ 1183743 w 1674165"/>
              <a:gd name="connsiteY13" fmla="*/ 130387 h 1608746"/>
              <a:gd name="connsiteX14" fmla="*/ 1125717 w 1674165"/>
              <a:gd name="connsiteY14" fmla="*/ 113418 h 1608746"/>
              <a:gd name="connsiteX15" fmla="*/ 1003311 w 1674165"/>
              <a:gd name="connsiteY15" fmla="*/ 68827 h 1608746"/>
              <a:gd name="connsiteX16" fmla="*/ 970452 w 1674165"/>
              <a:gd name="connsiteY16" fmla="*/ 60645 h 1608746"/>
              <a:gd name="connsiteX17" fmla="*/ 985779 w 1674165"/>
              <a:gd name="connsiteY17" fmla="*/ 84204 h 1608746"/>
              <a:gd name="connsiteX18" fmla="*/ 1118592 w 1674165"/>
              <a:gd name="connsiteY18" fmla="*/ 389505 h 1608746"/>
              <a:gd name="connsiteX19" fmla="*/ 1127060 w 1674165"/>
              <a:gd name="connsiteY19" fmla="*/ 429565 h 1608746"/>
              <a:gd name="connsiteX20" fmla="*/ 1128587 w 1674165"/>
              <a:gd name="connsiteY20" fmla="*/ 436650 h 1608746"/>
              <a:gd name="connsiteX21" fmla="*/ 1285567 w 1674165"/>
              <a:gd name="connsiteY21" fmla="*/ 436650 h 1608746"/>
              <a:gd name="connsiteX22" fmla="*/ 1442546 w 1674165"/>
              <a:gd name="connsiteY22" fmla="*/ 434289 h 1608746"/>
              <a:gd name="connsiteX23" fmla="*/ 1388347 w 1674165"/>
              <a:gd name="connsiteY23" fmla="*/ 336786 h 1608746"/>
              <a:gd name="connsiteX24" fmla="*/ 1301218 w 1674165"/>
              <a:gd name="connsiteY24" fmla="*/ 233463 h 1608746"/>
              <a:gd name="connsiteX25" fmla="*/ 1269148 w 1674165"/>
              <a:gd name="connsiteY25" fmla="*/ 195654 h 1608746"/>
              <a:gd name="connsiteX26" fmla="*/ 1287654 w 1674165"/>
              <a:gd name="connsiteY26" fmla="*/ 172452 h 1608746"/>
              <a:gd name="connsiteX27" fmla="*/ 1345738 w 1674165"/>
              <a:gd name="connsiteY27" fmla="*/ 210536 h 1608746"/>
              <a:gd name="connsiteX28" fmla="*/ 1442397 w 1674165"/>
              <a:gd name="connsiteY28" fmla="*/ 1038769 h 1608746"/>
              <a:gd name="connsiteX29" fmla="*/ 1425376 w 1674165"/>
              <a:gd name="connsiteY29" fmla="*/ 1065842 h 1608746"/>
              <a:gd name="connsiteX30" fmla="*/ 1443350 w 1674165"/>
              <a:gd name="connsiteY30" fmla="*/ 1083607 h 1608746"/>
              <a:gd name="connsiteX31" fmla="*/ 1670702 w 1674165"/>
              <a:gd name="connsiteY31" fmla="*/ 1316557 h 1608746"/>
              <a:gd name="connsiteX32" fmla="*/ 1643483 w 1674165"/>
              <a:gd name="connsiteY32" fmla="*/ 1379655 h 1608746"/>
              <a:gd name="connsiteX33" fmla="*/ 1628728 w 1674165"/>
              <a:gd name="connsiteY33" fmla="*/ 1386519 h 1608746"/>
              <a:gd name="connsiteX34" fmla="*/ 1543084 w 1674165"/>
              <a:gd name="connsiteY34" fmla="*/ 1373779 h 1608746"/>
              <a:gd name="connsiteX35" fmla="*/ 1455720 w 1674165"/>
              <a:gd name="connsiteY35" fmla="*/ 1363400 h 1608746"/>
              <a:gd name="connsiteX36" fmla="*/ 1404360 w 1674165"/>
              <a:gd name="connsiteY36" fmla="*/ 1428777 h 1608746"/>
              <a:gd name="connsiteX37" fmla="*/ 1321216 w 1674165"/>
              <a:gd name="connsiteY37" fmla="*/ 1502116 h 1608746"/>
              <a:gd name="connsiteX38" fmla="*/ 1275814 w 1674165"/>
              <a:gd name="connsiteY38" fmla="*/ 1478722 h 1608746"/>
              <a:gd name="connsiteX39" fmla="*/ 1269137 w 1674165"/>
              <a:gd name="connsiteY39" fmla="*/ 1412165 h 1608746"/>
              <a:gd name="connsiteX40" fmla="*/ 1266992 w 1674165"/>
              <a:gd name="connsiteY40" fmla="*/ 1292642 h 1608746"/>
              <a:gd name="connsiteX41" fmla="*/ 1264856 w 1674165"/>
              <a:gd name="connsiteY41" fmla="*/ 1229352 h 1608746"/>
              <a:gd name="connsiteX42" fmla="*/ 1235100 w 1674165"/>
              <a:gd name="connsiteY42" fmla="*/ 1249012 h 1608746"/>
              <a:gd name="connsiteX43" fmla="*/ 1117148 w 1674165"/>
              <a:gd name="connsiteY43" fmla="*/ 1312274 h 1608746"/>
              <a:gd name="connsiteX44" fmla="*/ 1084292 w 1674165"/>
              <a:gd name="connsiteY44" fmla="*/ 1325866 h 1608746"/>
              <a:gd name="connsiteX45" fmla="*/ 1082655 w 1674165"/>
              <a:gd name="connsiteY45" fmla="*/ 1436767 h 1608746"/>
              <a:gd name="connsiteX46" fmla="*/ 1075127 w 1674165"/>
              <a:gd name="connsiteY46" fmla="*/ 1560244 h 1608746"/>
              <a:gd name="connsiteX47" fmla="*/ 1035214 w 1674165"/>
              <a:gd name="connsiteY47" fmla="*/ 1600607 h 1608746"/>
              <a:gd name="connsiteX48" fmla="*/ 1022128 w 1674165"/>
              <a:gd name="connsiteY48" fmla="*/ 1607389 h 1608746"/>
              <a:gd name="connsiteX49" fmla="*/ 664141 w 1674165"/>
              <a:gd name="connsiteY49" fmla="*/ 1608240 h 1608746"/>
              <a:gd name="connsiteX50" fmla="*/ 306156 w 1674165"/>
              <a:gd name="connsiteY50" fmla="*/ 1609064 h 1608746"/>
              <a:gd name="connsiteX51" fmla="*/ 298523 w 1674165"/>
              <a:gd name="connsiteY51" fmla="*/ 1602172 h 1608746"/>
              <a:gd name="connsiteX52" fmla="*/ 298413 w 1674165"/>
              <a:gd name="connsiteY52" fmla="*/ 1568701 h 1608746"/>
              <a:gd name="connsiteX53" fmla="*/ 305939 w 1674165"/>
              <a:gd name="connsiteY53" fmla="*/ 1561891 h 1608746"/>
              <a:gd name="connsiteX54" fmla="*/ 659868 w 1674165"/>
              <a:gd name="connsiteY54" fmla="*/ 1561068 h 1608746"/>
              <a:gd name="connsiteX55" fmla="*/ 1013797 w 1674165"/>
              <a:gd name="connsiteY55" fmla="*/ 1560244 h 1608746"/>
              <a:gd name="connsiteX56" fmla="*/ 1022869 w 1674165"/>
              <a:gd name="connsiteY56" fmla="*/ 1551540 h 1608746"/>
              <a:gd name="connsiteX57" fmla="*/ 1031938 w 1674165"/>
              <a:gd name="connsiteY57" fmla="*/ 1542808 h 1608746"/>
              <a:gd name="connsiteX58" fmla="*/ 1031938 w 1674165"/>
              <a:gd name="connsiteY58" fmla="*/ 1416915 h 1608746"/>
              <a:gd name="connsiteX59" fmla="*/ 1031938 w 1674165"/>
              <a:gd name="connsiteY59" fmla="*/ 1291022 h 1608746"/>
              <a:gd name="connsiteX60" fmla="*/ 1021255 w 1674165"/>
              <a:gd name="connsiteY60" fmla="*/ 1281851 h 1608746"/>
              <a:gd name="connsiteX61" fmla="*/ 1010571 w 1674165"/>
              <a:gd name="connsiteY61" fmla="*/ 1272680 h 1608746"/>
              <a:gd name="connsiteX62" fmla="*/ 541182 w 1674165"/>
              <a:gd name="connsiteY62" fmla="*/ 1272680 h 1608746"/>
              <a:gd name="connsiteX63" fmla="*/ 71788 w 1674165"/>
              <a:gd name="connsiteY63" fmla="*/ 1272680 h 1608746"/>
              <a:gd name="connsiteX64" fmla="*/ 61105 w 1674165"/>
              <a:gd name="connsiteY64" fmla="*/ 1281851 h 1608746"/>
              <a:gd name="connsiteX65" fmla="*/ 50421 w 1674165"/>
              <a:gd name="connsiteY65" fmla="*/ 1291022 h 1608746"/>
              <a:gd name="connsiteX66" fmla="*/ 50421 w 1674165"/>
              <a:gd name="connsiteY66" fmla="*/ 1416915 h 1608746"/>
              <a:gd name="connsiteX67" fmla="*/ 50421 w 1674165"/>
              <a:gd name="connsiteY67" fmla="*/ 1542808 h 1608746"/>
              <a:gd name="connsiteX68" fmla="*/ 59482 w 1674165"/>
              <a:gd name="connsiteY68" fmla="*/ 1551540 h 1608746"/>
              <a:gd name="connsiteX69" fmla="*/ 68546 w 1674165"/>
              <a:gd name="connsiteY69" fmla="*/ 1560244 h 1608746"/>
              <a:gd name="connsiteX70" fmla="*/ 132552 w 1674165"/>
              <a:gd name="connsiteY70" fmla="*/ 1561809 h 1608746"/>
              <a:gd name="connsiteX71" fmla="*/ 201194 w 1674165"/>
              <a:gd name="connsiteY71" fmla="*/ 1569497 h 1608746"/>
              <a:gd name="connsiteX72" fmla="*/ 199285 w 1674165"/>
              <a:gd name="connsiteY72" fmla="*/ 1602666 h 1608746"/>
              <a:gd name="connsiteX73" fmla="*/ 131396 w 1674165"/>
              <a:gd name="connsiteY73" fmla="*/ 1608707 h 1608746"/>
              <a:gd name="connsiteX74" fmla="*/ 61849 w 1674165"/>
              <a:gd name="connsiteY74" fmla="*/ 1606016 h 1608746"/>
              <a:gd name="connsiteX75" fmla="*/ 1373748 w 1674165"/>
              <a:gd name="connsiteY75" fmla="*/ 1390116 h 1608746"/>
              <a:gd name="connsiteX76" fmla="*/ 1432639 w 1674165"/>
              <a:gd name="connsiteY76" fmla="*/ 1321527 h 1608746"/>
              <a:gd name="connsiteX77" fmla="*/ 1540915 w 1674165"/>
              <a:gd name="connsiteY77" fmla="*/ 1326113 h 1608746"/>
              <a:gd name="connsiteX78" fmla="*/ 1625273 w 1674165"/>
              <a:gd name="connsiteY78" fmla="*/ 1337041 h 1608746"/>
              <a:gd name="connsiteX79" fmla="*/ 1613818 w 1674165"/>
              <a:gd name="connsiteY79" fmla="*/ 1322104 h 1608746"/>
              <a:gd name="connsiteX80" fmla="*/ 1319217 w 1674165"/>
              <a:gd name="connsiteY80" fmla="*/ 1031217 h 1608746"/>
              <a:gd name="connsiteX81" fmla="*/ 1314997 w 1674165"/>
              <a:gd name="connsiteY81" fmla="*/ 1235502 h 1608746"/>
              <a:gd name="connsiteX82" fmla="*/ 1321059 w 1674165"/>
              <a:gd name="connsiteY82" fmla="*/ 1454807 h 1608746"/>
              <a:gd name="connsiteX83" fmla="*/ 1373748 w 1674165"/>
              <a:gd name="connsiteY83" fmla="*/ 1390116 h 1608746"/>
              <a:gd name="connsiteX84" fmla="*/ 1127013 w 1674165"/>
              <a:gd name="connsiteY84" fmla="*/ 1255656 h 1608746"/>
              <a:gd name="connsiteX85" fmla="*/ 1245427 w 1674165"/>
              <a:gd name="connsiteY85" fmla="*/ 1184019 h 1608746"/>
              <a:gd name="connsiteX86" fmla="*/ 1265875 w 1674165"/>
              <a:gd name="connsiteY86" fmla="*/ 1168396 h 1608746"/>
              <a:gd name="connsiteX87" fmla="*/ 1265875 w 1674165"/>
              <a:gd name="connsiteY87" fmla="*/ 1097061 h 1608746"/>
              <a:gd name="connsiteX88" fmla="*/ 1273236 w 1674165"/>
              <a:gd name="connsiteY88" fmla="*/ 1011860 h 1608746"/>
              <a:gd name="connsiteX89" fmla="*/ 1314247 w 1674165"/>
              <a:gd name="connsiteY89" fmla="*/ 984292 h 1608746"/>
              <a:gd name="connsiteX90" fmla="*/ 1372086 w 1674165"/>
              <a:gd name="connsiteY90" fmla="*/ 1012492 h 1608746"/>
              <a:gd name="connsiteX91" fmla="*/ 1389739 w 1674165"/>
              <a:gd name="connsiteY91" fmla="*/ 1031245 h 1608746"/>
              <a:gd name="connsiteX92" fmla="*/ 1398795 w 1674165"/>
              <a:gd name="connsiteY92" fmla="*/ 1017571 h 1608746"/>
              <a:gd name="connsiteX93" fmla="*/ 1442551 w 1674165"/>
              <a:gd name="connsiteY93" fmla="*/ 935912 h 1608746"/>
              <a:gd name="connsiteX94" fmla="*/ 1285567 w 1674165"/>
              <a:gd name="connsiteY94" fmla="*/ 933221 h 1608746"/>
              <a:gd name="connsiteX95" fmla="*/ 1128587 w 1674165"/>
              <a:gd name="connsiteY95" fmla="*/ 933221 h 1608746"/>
              <a:gd name="connsiteX96" fmla="*/ 1126914 w 1674165"/>
              <a:gd name="connsiteY96" fmla="*/ 940305 h 1608746"/>
              <a:gd name="connsiteX97" fmla="*/ 1120135 w 1674165"/>
              <a:gd name="connsiteY97" fmla="*/ 972513 h 1608746"/>
              <a:gd name="connsiteX98" fmla="*/ 1035145 w 1674165"/>
              <a:gd name="connsiteY98" fmla="*/ 1213591 h 1608746"/>
              <a:gd name="connsiteX99" fmla="*/ 1033945 w 1674165"/>
              <a:gd name="connsiteY99" fmla="*/ 1233470 h 1608746"/>
              <a:gd name="connsiteX100" fmla="*/ 1071505 w 1674165"/>
              <a:gd name="connsiteY100" fmla="*/ 1266914 h 1608746"/>
              <a:gd name="connsiteX101" fmla="*/ 1080475 w 1674165"/>
              <a:gd name="connsiteY101" fmla="*/ 1275810 h 1608746"/>
              <a:gd name="connsiteX102" fmla="*/ 1127013 w 1674165"/>
              <a:gd name="connsiteY102" fmla="*/ 1255656 h 1608746"/>
              <a:gd name="connsiteX103" fmla="*/ 621784 w 1674165"/>
              <a:gd name="connsiteY103" fmla="*/ 1201153 h 1608746"/>
              <a:gd name="connsiteX104" fmla="*/ 539474 w 1674165"/>
              <a:gd name="connsiteY104" fmla="*/ 951288 h 1608746"/>
              <a:gd name="connsiteX105" fmla="*/ 535812 w 1674165"/>
              <a:gd name="connsiteY105" fmla="*/ 933221 h 1608746"/>
              <a:gd name="connsiteX106" fmla="*/ 377337 w 1674165"/>
              <a:gd name="connsiteY106" fmla="*/ 933221 h 1608746"/>
              <a:gd name="connsiteX107" fmla="*/ 218860 w 1674165"/>
              <a:gd name="connsiteY107" fmla="*/ 933221 h 1608746"/>
              <a:gd name="connsiteX108" fmla="*/ 237267 w 1674165"/>
              <a:gd name="connsiteY108" fmla="*/ 968587 h 1608746"/>
              <a:gd name="connsiteX109" fmla="*/ 454177 w 1674165"/>
              <a:gd name="connsiteY109" fmla="*/ 1209280 h 1608746"/>
              <a:gd name="connsiteX110" fmla="*/ 478409 w 1674165"/>
              <a:gd name="connsiteY110" fmla="*/ 1225508 h 1608746"/>
              <a:gd name="connsiteX111" fmla="*/ 556454 w 1674165"/>
              <a:gd name="connsiteY111" fmla="*/ 1225508 h 1608746"/>
              <a:gd name="connsiteX112" fmla="*/ 634500 w 1674165"/>
              <a:gd name="connsiteY112" fmla="*/ 1225508 h 1608746"/>
              <a:gd name="connsiteX113" fmla="*/ 980145 w 1674165"/>
              <a:gd name="connsiteY113" fmla="*/ 1212163 h 1608746"/>
              <a:gd name="connsiteX114" fmla="*/ 1074135 w 1674165"/>
              <a:gd name="connsiteY114" fmla="*/ 956011 h 1608746"/>
              <a:gd name="connsiteX115" fmla="*/ 1078625 w 1674165"/>
              <a:gd name="connsiteY115" fmla="*/ 933221 h 1608746"/>
              <a:gd name="connsiteX116" fmla="*/ 831989 w 1674165"/>
              <a:gd name="connsiteY116" fmla="*/ 933221 h 1608746"/>
              <a:gd name="connsiteX117" fmla="*/ 585351 w 1674165"/>
              <a:gd name="connsiteY117" fmla="*/ 934841 h 1608746"/>
              <a:gd name="connsiteX118" fmla="*/ 593613 w 1674165"/>
              <a:gd name="connsiteY118" fmla="*/ 973337 h 1608746"/>
              <a:gd name="connsiteX119" fmla="*/ 676513 w 1674165"/>
              <a:gd name="connsiteY119" fmla="*/ 1199560 h 1608746"/>
              <a:gd name="connsiteX120" fmla="*/ 691683 w 1674165"/>
              <a:gd name="connsiteY120" fmla="*/ 1225480 h 1608746"/>
              <a:gd name="connsiteX121" fmla="*/ 831509 w 1674165"/>
              <a:gd name="connsiteY121" fmla="*/ 1225508 h 1608746"/>
              <a:gd name="connsiteX122" fmla="*/ 971337 w 1674165"/>
              <a:gd name="connsiteY122" fmla="*/ 1225508 h 1608746"/>
              <a:gd name="connsiteX123" fmla="*/ 980145 w 1674165"/>
              <a:gd name="connsiteY123" fmla="*/ 1212163 h 1608746"/>
              <a:gd name="connsiteX124" fmla="*/ 523596 w 1674165"/>
              <a:gd name="connsiteY124" fmla="*/ 849146 h 1608746"/>
              <a:gd name="connsiteX125" fmla="*/ 523541 w 1674165"/>
              <a:gd name="connsiteY125" fmla="*/ 519133 h 1608746"/>
              <a:gd name="connsiteX126" fmla="*/ 528329 w 1674165"/>
              <a:gd name="connsiteY126" fmla="*/ 483767 h 1608746"/>
              <a:gd name="connsiteX127" fmla="*/ 364512 w 1674165"/>
              <a:gd name="connsiteY127" fmla="*/ 483767 h 1608746"/>
              <a:gd name="connsiteX128" fmla="*/ 200694 w 1674165"/>
              <a:gd name="connsiteY128" fmla="*/ 483767 h 1608746"/>
              <a:gd name="connsiteX129" fmla="*/ 191962 w 1674165"/>
              <a:gd name="connsiteY129" fmla="*/ 514437 h 1608746"/>
              <a:gd name="connsiteX130" fmla="*/ 169496 w 1674165"/>
              <a:gd name="connsiteY130" fmla="*/ 728826 h 1608746"/>
              <a:gd name="connsiteX131" fmla="*/ 191962 w 1674165"/>
              <a:gd name="connsiteY131" fmla="*/ 855434 h 1608746"/>
              <a:gd name="connsiteX132" fmla="*/ 200694 w 1674165"/>
              <a:gd name="connsiteY132" fmla="*/ 886076 h 1608746"/>
              <a:gd name="connsiteX133" fmla="*/ 364545 w 1674165"/>
              <a:gd name="connsiteY133" fmla="*/ 886076 h 1608746"/>
              <a:gd name="connsiteX134" fmla="*/ 528398 w 1674165"/>
              <a:gd name="connsiteY134" fmla="*/ 886076 h 1608746"/>
              <a:gd name="connsiteX135" fmla="*/ 523607 w 1674165"/>
              <a:gd name="connsiteY135" fmla="*/ 849146 h 1608746"/>
              <a:gd name="connsiteX136" fmla="*/ 1087183 w 1674165"/>
              <a:gd name="connsiteY136" fmla="*/ 877427 h 1608746"/>
              <a:gd name="connsiteX137" fmla="*/ 1087180 w 1674165"/>
              <a:gd name="connsiteY137" fmla="*/ 492416 h 1608746"/>
              <a:gd name="connsiteX138" fmla="*/ 1085404 w 1674165"/>
              <a:gd name="connsiteY138" fmla="*/ 483740 h 1608746"/>
              <a:gd name="connsiteX139" fmla="*/ 831289 w 1674165"/>
              <a:gd name="connsiteY139" fmla="*/ 484536 h 1608746"/>
              <a:gd name="connsiteX140" fmla="*/ 577174 w 1674165"/>
              <a:gd name="connsiteY140" fmla="*/ 485359 h 1608746"/>
              <a:gd name="connsiteX141" fmla="*/ 573245 w 1674165"/>
              <a:gd name="connsiteY141" fmla="*/ 518364 h 1608746"/>
              <a:gd name="connsiteX142" fmla="*/ 565782 w 1674165"/>
              <a:gd name="connsiteY142" fmla="*/ 747800 h 1608746"/>
              <a:gd name="connsiteX143" fmla="*/ 577341 w 1674165"/>
              <a:gd name="connsiteY143" fmla="*/ 882150 h 1608746"/>
              <a:gd name="connsiteX144" fmla="*/ 832006 w 1674165"/>
              <a:gd name="connsiteY144" fmla="*/ 886076 h 1608746"/>
              <a:gd name="connsiteX145" fmla="*/ 1085409 w 1674165"/>
              <a:gd name="connsiteY145" fmla="*/ 886076 h 1608746"/>
              <a:gd name="connsiteX146" fmla="*/ 1472430 w 1674165"/>
              <a:gd name="connsiteY146" fmla="*/ 854363 h 1608746"/>
              <a:gd name="connsiteX147" fmla="*/ 1494009 w 1674165"/>
              <a:gd name="connsiteY147" fmla="*/ 704993 h 1608746"/>
              <a:gd name="connsiteX148" fmla="*/ 1469374 w 1674165"/>
              <a:gd name="connsiteY148" fmla="*/ 505788 h 1608746"/>
              <a:gd name="connsiteX149" fmla="*/ 1463221 w 1674165"/>
              <a:gd name="connsiteY149" fmla="*/ 485359 h 1608746"/>
              <a:gd name="connsiteX150" fmla="*/ 1298753 w 1674165"/>
              <a:gd name="connsiteY150" fmla="*/ 484536 h 1608746"/>
              <a:gd name="connsiteX151" fmla="*/ 1134281 w 1674165"/>
              <a:gd name="connsiteY151" fmla="*/ 483712 h 1608746"/>
              <a:gd name="connsiteX152" fmla="*/ 1136072 w 1674165"/>
              <a:gd name="connsiteY152" fmla="*/ 490824 h 1608746"/>
              <a:gd name="connsiteX153" fmla="*/ 1136264 w 1674165"/>
              <a:gd name="connsiteY153" fmla="*/ 877455 h 1608746"/>
              <a:gd name="connsiteX154" fmla="*/ 1134460 w 1674165"/>
              <a:gd name="connsiteY154" fmla="*/ 886131 h 1608746"/>
              <a:gd name="connsiteX155" fmla="*/ 1299085 w 1674165"/>
              <a:gd name="connsiteY155" fmla="*/ 885308 h 1608746"/>
              <a:gd name="connsiteX156" fmla="*/ 1463713 w 1674165"/>
              <a:gd name="connsiteY156" fmla="*/ 884511 h 1608746"/>
              <a:gd name="connsiteX157" fmla="*/ 1472417 w 1674165"/>
              <a:gd name="connsiteY157" fmla="*/ 854363 h 1608746"/>
              <a:gd name="connsiteX158" fmla="*/ 545510 w 1674165"/>
              <a:gd name="connsiteY158" fmla="*/ 388709 h 1608746"/>
              <a:gd name="connsiteX159" fmla="*/ 685313 w 1674165"/>
              <a:gd name="connsiteY159" fmla="*/ 75664 h 1608746"/>
              <a:gd name="connsiteX160" fmla="*/ 700423 w 1674165"/>
              <a:gd name="connsiteY160" fmla="*/ 59519 h 1608746"/>
              <a:gd name="connsiteX161" fmla="*/ 689509 w 1674165"/>
              <a:gd name="connsiteY161" fmla="*/ 61496 h 1608746"/>
              <a:gd name="connsiteX162" fmla="*/ 575537 w 1674165"/>
              <a:gd name="connsiteY162" fmla="*/ 96395 h 1608746"/>
              <a:gd name="connsiteX163" fmla="*/ 237234 w 1674165"/>
              <a:gd name="connsiteY163" fmla="*/ 401449 h 1608746"/>
              <a:gd name="connsiteX164" fmla="*/ 222188 w 1674165"/>
              <a:gd name="connsiteY164" fmla="*/ 433437 h 1608746"/>
              <a:gd name="connsiteX165" fmla="*/ 378652 w 1674165"/>
              <a:gd name="connsiteY165" fmla="*/ 436622 h 1608746"/>
              <a:gd name="connsiteX166" fmla="*/ 535120 w 1674165"/>
              <a:gd name="connsiteY166" fmla="*/ 436622 h 1608746"/>
              <a:gd name="connsiteX167" fmla="*/ 1077878 w 1674165"/>
              <a:gd name="connsiteY167" fmla="*/ 429565 h 1608746"/>
              <a:gd name="connsiteX168" fmla="*/ 1067675 w 1674165"/>
              <a:gd name="connsiteY168" fmla="*/ 384782 h 1608746"/>
              <a:gd name="connsiteX169" fmla="*/ 881243 w 1674165"/>
              <a:gd name="connsiteY169" fmla="*/ 59162 h 1608746"/>
              <a:gd name="connsiteX170" fmla="*/ 832437 w 1674165"/>
              <a:gd name="connsiteY170" fmla="*/ 48481 h 1608746"/>
              <a:gd name="connsiteX171" fmla="*/ 783688 w 1674165"/>
              <a:gd name="connsiteY171" fmla="*/ 58723 h 1608746"/>
              <a:gd name="connsiteX172" fmla="*/ 697609 w 1674165"/>
              <a:gd name="connsiteY172" fmla="*/ 136483 h 1608746"/>
              <a:gd name="connsiteX173" fmla="*/ 593742 w 1674165"/>
              <a:gd name="connsiteY173" fmla="*/ 395408 h 1608746"/>
              <a:gd name="connsiteX174" fmla="*/ 585351 w 1674165"/>
              <a:gd name="connsiteY174" fmla="*/ 435112 h 1608746"/>
              <a:gd name="connsiteX175" fmla="*/ 832431 w 1674165"/>
              <a:gd name="connsiteY175" fmla="*/ 436622 h 1608746"/>
              <a:gd name="connsiteX176" fmla="*/ 1079511 w 1674165"/>
              <a:gd name="connsiteY176" fmla="*/ 436622 h 1608746"/>
              <a:gd name="connsiteX177" fmla="*/ 475633 w 1674165"/>
              <a:gd name="connsiteY177" fmla="*/ 1514802 h 1608746"/>
              <a:gd name="connsiteX178" fmla="*/ 465355 w 1674165"/>
              <a:gd name="connsiteY178" fmla="*/ 1507937 h 1608746"/>
              <a:gd name="connsiteX179" fmla="*/ 408677 w 1674165"/>
              <a:gd name="connsiteY179" fmla="*/ 1339430 h 1608746"/>
              <a:gd name="connsiteX180" fmla="*/ 414798 w 1674165"/>
              <a:gd name="connsiteY180" fmla="*/ 1325811 h 1608746"/>
              <a:gd name="connsiteX181" fmla="*/ 449913 w 1674165"/>
              <a:gd name="connsiteY181" fmla="*/ 1324438 h 1608746"/>
              <a:gd name="connsiteX182" fmla="*/ 469894 w 1674165"/>
              <a:gd name="connsiteY182" fmla="*/ 1375344 h 1608746"/>
              <a:gd name="connsiteX183" fmla="*/ 487360 w 1674165"/>
              <a:gd name="connsiteY183" fmla="*/ 1420375 h 1608746"/>
              <a:gd name="connsiteX184" fmla="*/ 504837 w 1674165"/>
              <a:gd name="connsiteY184" fmla="*/ 1382868 h 1608746"/>
              <a:gd name="connsiteX185" fmla="*/ 524241 w 1674165"/>
              <a:gd name="connsiteY185" fmla="*/ 1342258 h 1608746"/>
              <a:gd name="connsiteX186" fmla="*/ 537135 w 1674165"/>
              <a:gd name="connsiteY186" fmla="*/ 1336986 h 1608746"/>
              <a:gd name="connsiteX187" fmla="*/ 573220 w 1674165"/>
              <a:gd name="connsiteY187" fmla="*/ 1372241 h 1608746"/>
              <a:gd name="connsiteX188" fmla="*/ 590271 w 1674165"/>
              <a:gd name="connsiteY188" fmla="*/ 1412247 h 1608746"/>
              <a:gd name="connsiteX189" fmla="*/ 595702 w 1674165"/>
              <a:gd name="connsiteY189" fmla="*/ 1424548 h 1608746"/>
              <a:gd name="connsiteX190" fmla="*/ 611768 w 1674165"/>
              <a:gd name="connsiteY190" fmla="*/ 1377513 h 1608746"/>
              <a:gd name="connsiteX191" fmla="*/ 632383 w 1674165"/>
              <a:gd name="connsiteY191" fmla="*/ 1324520 h 1608746"/>
              <a:gd name="connsiteX192" fmla="*/ 667567 w 1674165"/>
              <a:gd name="connsiteY192" fmla="*/ 1325811 h 1608746"/>
              <a:gd name="connsiteX193" fmla="*/ 673687 w 1674165"/>
              <a:gd name="connsiteY193" fmla="*/ 1339539 h 1608746"/>
              <a:gd name="connsiteX194" fmla="*/ 615604 w 1674165"/>
              <a:gd name="connsiteY194" fmla="*/ 1509173 h 1608746"/>
              <a:gd name="connsiteX195" fmla="*/ 598437 w 1674165"/>
              <a:gd name="connsiteY195" fmla="*/ 1514665 h 1608746"/>
              <a:gd name="connsiteX196" fmla="*/ 562520 w 1674165"/>
              <a:gd name="connsiteY196" fmla="*/ 1470677 h 1608746"/>
              <a:gd name="connsiteX197" fmla="*/ 523398 w 1674165"/>
              <a:gd name="connsiteY197" fmla="*/ 1463209 h 1608746"/>
              <a:gd name="connsiteX198" fmla="*/ 500795 w 1674165"/>
              <a:gd name="connsiteY198" fmla="*/ 1508843 h 1608746"/>
              <a:gd name="connsiteX199" fmla="*/ 475633 w 1674165"/>
              <a:gd name="connsiteY199" fmla="*/ 1514802 h 1608746"/>
              <a:gd name="connsiteX200" fmla="*/ 770091 w 1674165"/>
              <a:gd name="connsiteY200" fmla="*/ 1514802 h 1608746"/>
              <a:gd name="connsiteX201" fmla="*/ 759520 w 1674165"/>
              <a:gd name="connsiteY201" fmla="*/ 1507690 h 1608746"/>
              <a:gd name="connsiteX202" fmla="*/ 703133 w 1674165"/>
              <a:gd name="connsiteY202" fmla="*/ 1339183 h 1608746"/>
              <a:gd name="connsiteX203" fmla="*/ 737027 w 1674165"/>
              <a:gd name="connsiteY203" fmla="*/ 1320182 h 1608746"/>
              <a:gd name="connsiteX204" fmla="*/ 767867 w 1674165"/>
              <a:gd name="connsiteY204" fmla="*/ 1387371 h 1608746"/>
              <a:gd name="connsiteX205" fmla="*/ 780429 w 1674165"/>
              <a:gd name="connsiteY205" fmla="*/ 1425097 h 1608746"/>
              <a:gd name="connsiteX206" fmla="*/ 791676 w 1674165"/>
              <a:gd name="connsiteY206" fmla="*/ 1398409 h 1608746"/>
              <a:gd name="connsiteX207" fmla="*/ 845506 w 1674165"/>
              <a:gd name="connsiteY207" fmla="*/ 1339018 h 1608746"/>
              <a:gd name="connsiteX208" fmla="*/ 871135 w 1674165"/>
              <a:gd name="connsiteY208" fmla="*/ 1381879 h 1608746"/>
              <a:gd name="connsiteX209" fmla="*/ 889532 w 1674165"/>
              <a:gd name="connsiteY209" fmla="*/ 1420375 h 1608746"/>
              <a:gd name="connsiteX210" fmla="*/ 907797 w 1674165"/>
              <a:gd name="connsiteY210" fmla="*/ 1372434 h 1608746"/>
              <a:gd name="connsiteX211" fmla="*/ 933423 w 1674165"/>
              <a:gd name="connsiteY211" fmla="*/ 1320209 h 1608746"/>
              <a:gd name="connsiteX212" fmla="*/ 953786 w 1674165"/>
              <a:gd name="connsiteY212" fmla="*/ 1320896 h 1608746"/>
              <a:gd name="connsiteX213" fmla="*/ 942188 w 1674165"/>
              <a:gd name="connsiteY213" fmla="*/ 1421308 h 1608746"/>
              <a:gd name="connsiteX214" fmla="*/ 910641 w 1674165"/>
              <a:gd name="connsiteY214" fmla="*/ 1507580 h 1608746"/>
              <a:gd name="connsiteX215" fmla="*/ 876215 w 1674165"/>
              <a:gd name="connsiteY215" fmla="*/ 1509667 h 1608746"/>
              <a:gd name="connsiteX216" fmla="*/ 853431 w 1674165"/>
              <a:gd name="connsiteY216" fmla="*/ 1463895 h 1608746"/>
              <a:gd name="connsiteX217" fmla="*/ 833985 w 1674165"/>
              <a:gd name="connsiteY217" fmla="*/ 1425674 h 1608746"/>
              <a:gd name="connsiteX218" fmla="*/ 815830 w 1674165"/>
              <a:gd name="connsiteY218" fmla="*/ 1465515 h 1608746"/>
              <a:gd name="connsiteX219" fmla="*/ 794960 w 1674165"/>
              <a:gd name="connsiteY219" fmla="*/ 1508459 h 1608746"/>
              <a:gd name="connsiteX220" fmla="*/ 770091 w 1674165"/>
              <a:gd name="connsiteY220" fmla="*/ 1514774 h 1608746"/>
              <a:gd name="connsiteX221" fmla="*/ 171839 w 1674165"/>
              <a:gd name="connsiteY221" fmla="*/ 1507580 h 1608746"/>
              <a:gd name="connsiteX222" fmla="*/ 140287 w 1674165"/>
              <a:gd name="connsiteY222" fmla="*/ 1421308 h 1608746"/>
              <a:gd name="connsiteX223" fmla="*/ 128582 w 1674165"/>
              <a:gd name="connsiteY223" fmla="*/ 1320896 h 1608746"/>
              <a:gd name="connsiteX224" fmla="*/ 148944 w 1674165"/>
              <a:gd name="connsiteY224" fmla="*/ 1320209 h 1608746"/>
              <a:gd name="connsiteX225" fmla="*/ 174620 w 1674165"/>
              <a:gd name="connsiteY225" fmla="*/ 1372461 h 1608746"/>
              <a:gd name="connsiteX226" fmla="*/ 192986 w 1674165"/>
              <a:gd name="connsiteY226" fmla="*/ 1420375 h 1608746"/>
              <a:gd name="connsiteX227" fmla="*/ 210741 w 1674165"/>
              <a:gd name="connsiteY227" fmla="*/ 1383444 h 1608746"/>
              <a:gd name="connsiteX228" fmla="*/ 242177 w 1674165"/>
              <a:gd name="connsiteY228" fmla="*/ 1337014 h 1608746"/>
              <a:gd name="connsiteX229" fmla="*/ 284626 w 1674165"/>
              <a:gd name="connsiteY229" fmla="*/ 1384570 h 1608746"/>
              <a:gd name="connsiteX230" fmla="*/ 302078 w 1674165"/>
              <a:gd name="connsiteY230" fmla="*/ 1424576 h 1608746"/>
              <a:gd name="connsiteX231" fmla="*/ 319047 w 1674165"/>
              <a:gd name="connsiteY231" fmla="*/ 1375125 h 1608746"/>
              <a:gd name="connsiteX232" fmla="*/ 337175 w 1674165"/>
              <a:gd name="connsiteY232" fmla="*/ 1324740 h 1608746"/>
              <a:gd name="connsiteX233" fmla="*/ 379232 w 1674165"/>
              <a:gd name="connsiteY233" fmla="*/ 1339457 h 1608746"/>
              <a:gd name="connsiteX234" fmla="*/ 321535 w 1674165"/>
              <a:gd name="connsiteY234" fmla="*/ 1508843 h 1608746"/>
              <a:gd name="connsiteX235" fmla="*/ 303550 w 1674165"/>
              <a:gd name="connsiteY235" fmla="*/ 1514665 h 1608746"/>
              <a:gd name="connsiteX236" fmla="*/ 266081 w 1674165"/>
              <a:gd name="connsiteY236" fmla="*/ 1464389 h 1608746"/>
              <a:gd name="connsiteX237" fmla="*/ 248492 w 1674165"/>
              <a:gd name="connsiteY237" fmla="*/ 1425784 h 1608746"/>
              <a:gd name="connsiteX238" fmla="*/ 228975 w 1674165"/>
              <a:gd name="connsiteY238" fmla="*/ 1464087 h 1608746"/>
              <a:gd name="connsiteX239" fmla="*/ 206065 w 1674165"/>
              <a:gd name="connsiteY239" fmla="*/ 1509750 h 1608746"/>
              <a:gd name="connsiteX240" fmla="*/ 171839 w 1674165"/>
              <a:gd name="connsiteY240" fmla="*/ 1507608 h 160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1674165" h="1608746">
                <a:moveTo>
                  <a:pt x="61849" y="1606016"/>
                </a:moveTo>
                <a:cubicBezTo>
                  <a:pt x="34377" y="1597998"/>
                  <a:pt x="12384" y="1576938"/>
                  <a:pt x="4605" y="1551238"/>
                </a:cubicBezTo>
                <a:cubicBezTo>
                  <a:pt x="184" y="1536630"/>
                  <a:pt x="-436" y="1515735"/>
                  <a:pt x="385" y="1408898"/>
                </a:cubicBezTo>
                <a:cubicBezTo>
                  <a:pt x="1316" y="1287397"/>
                  <a:pt x="1554" y="1283279"/>
                  <a:pt x="8419" y="1271088"/>
                </a:cubicBezTo>
                <a:cubicBezTo>
                  <a:pt x="17820" y="1254393"/>
                  <a:pt x="34034" y="1239868"/>
                  <a:pt x="52055" y="1232043"/>
                </a:cubicBezTo>
                <a:cubicBezTo>
                  <a:pt x="66212" y="1225892"/>
                  <a:pt x="73065" y="1225645"/>
                  <a:pt x="230367" y="1225480"/>
                </a:cubicBezTo>
                <a:lnTo>
                  <a:pt x="393954" y="1225316"/>
                </a:lnTo>
                <a:lnTo>
                  <a:pt x="380868" y="1215321"/>
                </a:lnTo>
                <a:cubicBezTo>
                  <a:pt x="356928" y="1197062"/>
                  <a:pt x="300346" y="1142586"/>
                  <a:pt x="278877" y="1117105"/>
                </a:cubicBezTo>
                <a:cubicBezTo>
                  <a:pt x="135345" y="946730"/>
                  <a:pt x="85295" y="724982"/>
                  <a:pt x="142157" y="511307"/>
                </a:cubicBezTo>
                <a:cubicBezTo>
                  <a:pt x="190532" y="329538"/>
                  <a:pt x="323188" y="168773"/>
                  <a:pt x="498214" y="79783"/>
                </a:cubicBezTo>
                <a:cubicBezTo>
                  <a:pt x="671518" y="-8329"/>
                  <a:pt x="871896" y="-23760"/>
                  <a:pt x="1060689" y="36454"/>
                </a:cubicBezTo>
                <a:cubicBezTo>
                  <a:pt x="1120055" y="55400"/>
                  <a:pt x="1191050" y="89310"/>
                  <a:pt x="1195152" y="100706"/>
                </a:cubicBezTo>
                <a:cubicBezTo>
                  <a:pt x="1199609" y="113061"/>
                  <a:pt x="1195125" y="124731"/>
                  <a:pt x="1183743" y="130387"/>
                </a:cubicBezTo>
                <a:cubicBezTo>
                  <a:pt x="1173796" y="135330"/>
                  <a:pt x="1173156" y="135137"/>
                  <a:pt x="1125717" y="113418"/>
                </a:cubicBezTo>
                <a:cubicBezTo>
                  <a:pt x="1072504" y="89091"/>
                  <a:pt x="1043520" y="78520"/>
                  <a:pt x="1003311" y="68827"/>
                </a:cubicBezTo>
                <a:cubicBezTo>
                  <a:pt x="988470" y="65258"/>
                  <a:pt x="973682" y="61578"/>
                  <a:pt x="970452" y="60645"/>
                </a:cubicBezTo>
                <a:cubicBezTo>
                  <a:pt x="966971" y="59656"/>
                  <a:pt x="973217" y="69266"/>
                  <a:pt x="985779" y="84204"/>
                </a:cubicBezTo>
                <a:cubicBezTo>
                  <a:pt x="1044712" y="154330"/>
                  <a:pt x="1091999" y="263035"/>
                  <a:pt x="1118592" y="389505"/>
                </a:cubicBezTo>
                <a:cubicBezTo>
                  <a:pt x="1122409" y="407655"/>
                  <a:pt x="1126220" y="425694"/>
                  <a:pt x="1127060" y="429565"/>
                </a:cubicBezTo>
                <a:lnTo>
                  <a:pt x="1128587" y="436650"/>
                </a:lnTo>
                <a:lnTo>
                  <a:pt x="1285567" y="436650"/>
                </a:lnTo>
                <a:cubicBezTo>
                  <a:pt x="1371908" y="436650"/>
                  <a:pt x="1442548" y="435579"/>
                  <a:pt x="1442546" y="434289"/>
                </a:cubicBezTo>
                <a:cubicBezTo>
                  <a:pt x="1442540" y="428824"/>
                  <a:pt x="1405445" y="362102"/>
                  <a:pt x="1388347" y="336786"/>
                </a:cubicBezTo>
                <a:cubicBezTo>
                  <a:pt x="1363366" y="299828"/>
                  <a:pt x="1339544" y="271574"/>
                  <a:pt x="1301218" y="233463"/>
                </a:cubicBezTo>
                <a:cubicBezTo>
                  <a:pt x="1283579" y="215918"/>
                  <a:pt x="1269148" y="198921"/>
                  <a:pt x="1269148" y="195654"/>
                </a:cubicBezTo>
                <a:cubicBezTo>
                  <a:pt x="1269148" y="187279"/>
                  <a:pt x="1278220" y="175884"/>
                  <a:pt x="1287654" y="172452"/>
                </a:cubicBezTo>
                <a:cubicBezTo>
                  <a:pt x="1299807" y="168004"/>
                  <a:pt x="1309782" y="174567"/>
                  <a:pt x="1345738" y="210536"/>
                </a:cubicBezTo>
                <a:cubicBezTo>
                  <a:pt x="1568757" y="433739"/>
                  <a:pt x="1608530" y="774544"/>
                  <a:pt x="1442397" y="1038769"/>
                </a:cubicBezTo>
                <a:lnTo>
                  <a:pt x="1425376" y="1065842"/>
                </a:lnTo>
                <a:lnTo>
                  <a:pt x="1443350" y="1083607"/>
                </a:lnTo>
                <a:cubicBezTo>
                  <a:pt x="1579597" y="1218314"/>
                  <a:pt x="1666745" y="1307606"/>
                  <a:pt x="1670702" y="1316557"/>
                </a:cubicBezTo>
                <a:cubicBezTo>
                  <a:pt x="1680817" y="1339430"/>
                  <a:pt x="1668481" y="1368040"/>
                  <a:pt x="1643483" y="1379655"/>
                </a:cubicBezTo>
                <a:lnTo>
                  <a:pt x="1628728" y="1386519"/>
                </a:lnTo>
                <a:lnTo>
                  <a:pt x="1543084" y="1373779"/>
                </a:lnTo>
                <a:cubicBezTo>
                  <a:pt x="1495981" y="1366750"/>
                  <a:pt x="1456667" y="1362082"/>
                  <a:pt x="1455720" y="1363400"/>
                </a:cubicBezTo>
                <a:cubicBezTo>
                  <a:pt x="1454772" y="1364718"/>
                  <a:pt x="1431661" y="1394125"/>
                  <a:pt x="1404360" y="1428777"/>
                </a:cubicBezTo>
                <a:cubicBezTo>
                  <a:pt x="1352441" y="1494620"/>
                  <a:pt x="1343953" y="1502116"/>
                  <a:pt x="1321216" y="1502116"/>
                </a:cubicBezTo>
                <a:cubicBezTo>
                  <a:pt x="1305658" y="1502116"/>
                  <a:pt x="1283522" y="1490694"/>
                  <a:pt x="1275814" y="1478722"/>
                </a:cubicBezTo>
                <a:cubicBezTo>
                  <a:pt x="1269757" y="1469304"/>
                  <a:pt x="1269145" y="1463209"/>
                  <a:pt x="1269137" y="1412165"/>
                </a:cubicBezTo>
                <a:cubicBezTo>
                  <a:pt x="1269134" y="1381248"/>
                  <a:pt x="1268168" y="1327458"/>
                  <a:pt x="1266992" y="1292642"/>
                </a:cubicBezTo>
                <a:lnTo>
                  <a:pt x="1264856" y="1229352"/>
                </a:lnTo>
                <a:lnTo>
                  <a:pt x="1235100" y="1249012"/>
                </a:lnTo>
                <a:cubicBezTo>
                  <a:pt x="1195797" y="1275014"/>
                  <a:pt x="1157357" y="1295635"/>
                  <a:pt x="1117148" y="1312274"/>
                </a:cubicBezTo>
                <a:lnTo>
                  <a:pt x="1084292" y="1325866"/>
                </a:lnTo>
                <a:lnTo>
                  <a:pt x="1082655" y="1436767"/>
                </a:lnTo>
                <a:cubicBezTo>
                  <a:pt x="1081211" y="1534681"/>
                  <a:pt x="1080330" y="1549151"/>
                  <a:pt x="1075127" y="1560244"/>
                </a:cubicBezTo>
                <a:cubicBezTo>
                  <a:pt x="1067718" y="1576060"/>
                  <a:pt x="1052142" y="1591793"/>
                  <a:pt x="1035214" y="1600607"/>
                </a:cubicBezTo>
                <a:lnTo>
                  <a:pt x="1022128" y="1607389"/>
                </a:lnTo>
                <a:lnTo>
                  <a:pt x="664141" y="1608240"/>
                </a:lnTo>
                <a:lnTo>
                  <a:pt x="306156" y="1609064"/>
                </a:lnTo>
                <a:lnTo>
                  <a:pt x="298523" y="1602172"/>
                </a:lnTo>
                <a:cubicBezTo>
                  <a:pt x="288413" y="1593056"/>
                  <a:pt x="288363" y="1577762"/>
                  <a:pt x="298413" y="1568701"/>
                </a:cubicBezTo>
                <a:lnTo>
                  <a:pt x="305939" y="1561891"/>
                </a:lnTo>
                <a:lnTo>
                  <a:pt x="659868" y="1561068"/>
                </a:lnTo>
                <a:lnTo>
                  <a:pt x="1013797" y="1560244"/>
                </a:lnTo>
                <a:lnTo>
                  <a:pt x="1022869" y="1551540"/>
                </a:lnTo>
                <a:lnTo>
                  <a:pt x="1031938" y="1542808"/>
                </a:lnTo>
                <a:lnTo>
                  <a:pt x="1031938" y="1416915"/>
                </a:lnTo>
                <a:lnTo>
                  <a:pt x="1031938" y="1291022"/>
                </a:lnTo>
                <a:lnTo>
                  <a:pt x="1021255" y="1281851"/>
                </a:lnTo>
                <a:lnTo>
                  <a:pt x="1010571" y="1272680"/>
                </a:lnTo>
                <a:lnTo>
                  <a:pt x="541182" y="1272680"/>
                </a:lnTo>
                <a:lnTo>
                  <a:pt x="71788" y="1272680"/>
                </a:lnTo>
                <a:lnTo>
                  <a:pt x="61105" y="1281851"/>
                </a:lnTo>
                <a:lnTo>
                  <a:pt x="50421" y="1291022"/>
                </a:lnTo>
                <a:lnTo>
                  <a:pt x="50421" y="1416915"/>
                </a:lnTo>
                <a:lnTo>
                  <a:pt x="50421" y="1542808"/>
                </a:lnTo>
                <a:lnTo>
                  <a:pt x="59482" y="1551540"/>
                </a:lnTo>
                <a:lnTo>
                  <a:pt x="68546" y="1560244"/>
                </a:lnTo>
                <a:lnTo>
                  <a:pt x="132552" y="1561809"/>
                </a:lnTo>
                <a:cubicBezTo>
                  <a:pt x="191075" y="1563264"/>
                  <a:pt x="196954" y="1563923"/>
                  <a:pt x="201194" y="1569497"/>
                </a:cubicBezTo>
                <a:cubicBezTo>
                  <a:pt x="207959" y="1578394"/>
                  <a:pt x="206987" y="1595280"/>
                  <a:pt x="199285" y="1602666"/>
                </a:cubicBezTo>
                <a:cubicBezTo>
                  <a:pt x="193184" y="1608542"/>
                  <a:pt x="188585" y="1608954"/>
                  <a:pt x="131396" y="1608707"/>
                </a:cubicBezTo>
                <a:cubicBezTo>
                  <a:pt x="97656" y="1608570"/>
                  <a:pt x="66360" y="1607334"/>
                  <a:pt x="61849" y="1606016"/>
                </a:cubicBezTo>
                <a:close/>
                <a:moveTo>
                  <a:pt x="1373748" y="1390116"/>
                </a:moveTo>
                <a:cubicBezTo>
                  <a:pt x="1401587" y="1354586"/>
                  <a:pt x="1428089" y="1323724"/>
                  <a:pt x="1432639" y="1321527"/>
                </a:cubicBezTo>
                <a:cubicBezTo>
                  <a:pt x="1449547" y="1313372"/>
                  <a:pt x="1460058" y="1313812"/>
                  <a:pt x="1540915" y="1326113"/>
                </a:cubicBezTo>
                <a:cubicBezTo>
                  <a:pt x="1586366" y="1333032"/>
                  <a:pt x="1624326" y="1337947"/>
                  <a:pt x="1625273" y="1337041"/>
                </a:cubicBezTo>
                <a:cubicBezTo>
                  <a:pt x="1626221" y="1336135"/>
                  <a:pt x="1621067" y="1329408"/>
                  <a:pt x="1613818" y="1322104"/>
                </a:cubicBezTo>
                <a:cubicBezTo>
                  <a:pt x="1498081" y="1205381"/>
                  <a:pt x="1322484" y="1031986"/>
                  <a:pt x="1319217" y="1031217"/>
                </a:cubicBezTo>
                <a:cubicBezTo>
                  <a:pt x="1315743" y="1030394"/>
                  <a:pt x="1314961" y="1068340"/>
                  <a:pt x="1314997" y="1235502"/>
                </a:cubicBezTo>
                <a:cubicBezTo>
                  <a:pt x="1315051" y="1427734"/>
                  <a:pt x="1315795" y="1455164"/>
                  <a:pt x="1321059" y="1454807"/>
                </a:cubicBezTo>
                <a:cubicBezTo>
                  <a:pt x="1322199" y="1454724"/>
                  <a:pt x="1345908" y="1425619"/>
                  <a:pt x="1373748" y="1390116"/>
                </a:cubicBezTo>
                <a:close/>
                <a:moveTo>
                  <a:pt x="1127013" y="1255656"/>
                </a:moveTo>
                <a:cubicBezTo>
                  <a:pt x="1170707" y="1234843"/>
                  <a:pt x="1209858" y="1211175"/>
                  <a:pt x="1245427" y="1184019"/>
                </a:cubicBezTo>
                <a:lnTo>
                  <a:pt x="1265875" y="1168396"/>
                </a:lnTo>
                <a:lnTo>
                  <a:pt x="1265875" y="1097061"/>
                </a:lnTo>
                <a:cubicBezTo>
                  <a:pt x="1265875" y="1029241"/>
                  <a:pt x="1266243" y="1025012"/>
                  <a:pt x="1273236" y="1011860"/>
                </a:cubicBezTo>
                <a:cubicBezTo>
                  <a:pt x="1282805" y="993875"/>
                  <a:pt x="1294329" y="986132"/>
                  <a:pt x="1314247" y="984292"/>
                </a:cubicBezTo>
                <a:cubicBezTo>
                  <a:pt x="1336007" y="982288"/>
                  <a:pt x="1350090" y="989152"/>
                  <a:pt x="1372086" y="1012492"/>
                </a:cubicBezTo>
                <a:lnTo>
                  <a:pt x="1389739" y="1031245"/>
                </a:lnTo>
                <a:lnTo>
                  <a:pt x="1398795" y="1017571"/>
                </a:lnTo>
                <a:cubicBezTo>
                  <a:pt x="1409561" y="1001371"/>
                  <a:pt x="1442551" y="939783"/>
                  <a:pt x="1442551" y="935912"/>
                </a:cubicBezTo>
                <a:cubicBezTo>
                  <a:pt x="1442551" y="934429"/>
                  <a:pt x="1371908" y="933221"/>
                  <a:pt x="1285567" y="933221"/>
                </a:cubicBezTo>
                <a:lnTo>
                  <a:pt x="1128587" y="933221"/>
                </a:lnTo>
                <a:lnTo>
                  <a:pt x="1126914" y="940305"/>
                </a:lnTo>
                <a:cubicBezTo>
                  <a:pt x="1125995" y="944177"/>
                  <a:pt x="1122944" y="958674"/>
                  <a:pt x="1120135" y="972513"/>
                </a:cubicBezTo>
                <a:cubicBezTo>
                  <a:pt x="1102647" y="1058620"/>
                  <a:pt x="1066705" y="1160570"/>
                  <a:pt x="1035145" y="1213591"/>
                </a:cubicBezTo>
                <a:cubicBezTo>
                  <a:pt x="1025349" y="1230066"/>
                  <a:pt x="1025299" y="1230835"/>
                  <a:pt x="1033945" y="1233470"/>
                </a:cubicBezTo>
                <a:cubicBezTo>
                  <a:pt x="1043493" y="1236381"/>
                  <a:pt x="1065725" y="1256178"/>
                  <a:pt x="1071505" y="1266914"/>
                </a:cubicBezTo>
                <a:cubicBezTo>
                  <a:pt x="1074135" y="1271802"/>
                  <a:pt x="1078169" y="1275810"/>
                  <a:pt x="1080475" y="1275810"/>
                </a:cubicBezTo>
                <a:cubicBezTo>
                  <a:pt x="1082782" y="1275810"/>
                  <a:pt x="1103724" y="1266722"/>
                  <a:pt x="1127013" y="1255656"/>
                </a:cubicBezTo>
                <a:close/>
                <a:moveTo>
                  <a:pt x="621784" y="1201153"/>
                </a:moveTo>
                <a:cubicBezTo>
                  <a:pt x="587256" y="1135007"/>
                  <a:pt x="559876" y="1051893"/>
                  <a:pt x="539474" y="951288"/>
                </a:cubicBezTo>
                <a:lnTo>
                  <a:pt x="535812" y="933221"/>
                </a:lnTo>
                <a:lnTo>
                  <a:pt x="377337" y="933221"/>
                </a:lnTo>
                <a:lnTo>
                  <a:pt x="218860" y="933221"/>
                </a:lnTo>
                <a:lnTo>
                  <a:pt x="237267" y="968587"/>
                </a:lnTo>
                <a:cubicBezTo>
                  <a:pt x="287872" y="1065787"/>
                  <a:pt x="360868" y="1146787"/>
                  <a:pt x="454177" y="1209280"/>
                </a:cubicBezTo>
                <a:lnTo>
                  <a:pt x="478409" y="1225508"/>
                </a:lnTo>
                <a:lnTo>
                  <a:pt x="556454" y="1225508"/>
                </a:lnTo>
                <a:lnTo>
                  <a:pt x="634500" y="1225508"/>
                </a:lnTo>
                <a:close/>
                <a:moveTo>
                  <a:pt x="980145" y="1212163"/>
                </a:moveTo>
                <a:cubicBezTo>
                  <a:pt x="1015942" y="1157880"/>
                  <a:pt x="1055728" y="1049449"/>
                  <a:pt x="1074135" y="956011"/>
                </a:cubicBezTo>
                <a:lnTo>
                  <a:pt x="1078625" y="933221"/>
                </a:lnTo>
                <a:lnTo>
                  <a:pt x="831989" y="933221"/>
                </a:lnTo>
                <a:cubicBezTo>
                  <a:pt x="696337" y="933221"/>
                  <a:pt x="585351" y="933963"/>
                  <a:pt x="585351" y="934841"/>
                </a:cubicBezTo>
                <a:cubicBezTo>
                  <a:pt x="585351" y="935748"/>
                  <a:pt x="589069" y="953073"/>
                  <a:pt x="593613" y="973337"/>
                </a:cubicBezTo>
                <a:cubicBezTo>
                  <a:pt x="614198" y="1065237"/>
                  <a:pt x="641535" y="1139840"/>
                  <a:pt x="676513" y="1199560"/>
                </a:cubicBezTo>
                <a:lnTo>
                  <a:pt x="691683" y="1225480"/>
                </a:lnTo>
                <a:lnTo>
                  <a:pt x="831509" y="1225508"/>
                </a:lnTo>
                <a:lnTo>
                  <a:pt x="971337" y="1225508"/>
                </a:lnTo>
                <a:lnTo>
                  <a:pt x="980145" y="1212163"/>
                </a:lnTo>
                <a:close/>
                <a:moveTo>
                  <a:pt x="523596" y="849146"/>
                </a:moveTo>
                <a:cubicBezTo>
                  <a:pt x="516833" y="797004"/>
                  <a:pt x="516789" y="568941"/>
                  <a:pt x="523541" y="519133"/>
                </a:cubicBezTo>
                <a:lnTo>
                  <a:pt x="528329" y="483767"/>
                </a:lnTo>
                <a:lnTo>
                  <a:pt x="364512" y="483767"/>
                </a:lnTo>
                <a:lnTo>
                  <a:pt x="200694" y="483767"/>
                </a:lnTo>
                <a:lnTo>
                  <a:pt x="191962" y="514437"/>
                </a:lnTo>
                <a:cubicBezTo>
                  <a:pt x="171465" y="586376"/>
                  <a:pt x="163703" y="660457"/>
                  <a:pt x="169496" y="728826"/>
                </a:cubicBezTo>
                <a:cubicBezTo>
                  <a:pt x="173769" y="779211"/>
                  <a:pt x="179579" y="811968"/>
                  <a:pt x="191962" y="855434"/>
                </a:cubicBezTo>
                <a:lnTo>
                  <a:pt x="200694" y="886076"/>
                </a:lnTo>
                <a:lnTo>
                  <a:pt x="364545" y="886076"/>
                </a:lnTo>
                <a:lnTo>
                  <a:pt x="528398" y="886076"/>
                </a:lnTo>
                <a:lnTo>
                  <a:pt x="523607" y="849146"/>
                </a:lnTo>
                <a:close/>
                <a:moveTo>
                  <a:pt x="1087183" y="877427"/>
                </a:moveTo>
                <a:cubicBezTo>
                  <a:pt x="1101176" y="809223"/>
                  <a:pt x="1101173" y="560621"/>
                  <a:pt x="1087180" y="492416"/>
                </a:cubicBezTo>
                <a:lnTo>
                  <a:pt x="1085404" y="483740"/>
                </a:lnTo>
                <a:lnTo>
                  <a:pt x="831289" y="484536"/>
                </a:lnTo>
                <a:lnTo>
                  <a:pt x="577174" y="485359"/>
                </a:lnTo>
                <a:lnTo>
                  <a:pt x="573245" y="518364"/>
                </a:lnTo>
                <a:cubicBezTo>
                  <a:pt x="566479" y="575174"/>
                  <a:pt x="562964" y="683247"/>
                  <a:pt x="565782" y="747800"/>
                </a:cubicBezTo>
                <a:cubicBezTo>
                  <a:pt x="568206" y="803347"/>
                  <a:pt x="574126" y="872155"/>
                  <a:pt x="577341" y="882150"/>
                </a:cubicBezTo>
                <a:cubicBezTo>
                  <a:pt x="578338" y="885253"/>
                  <a:pt x="632139" y="886076"/>
                  <a:pt x="832006" y="886076"/>
                </a:cubicBezTo>
                <a:lnTo>
                  <a:pt x="1085409" y="886076"/>
                </a:lnTo>
                <a:close/>
                <a:moveTo>
                  <a:pt x="1472430" y="854363"/>
                </a:moveTo>
                <a:cubicBezTo>
                  <a:pt x="1487189" y="803237"/>
                  <a:pt x="1492192" y="768613"/>
                  <a:pt x="1494009" y="704993"/>
                </a:cubicBezTo>
                <a:cubicBezTo>
                  <a:pt x="1496244" y="626766"/>
                  <a:pt x="1489575" y="572867"/>
                  <a:pt x="1469374" y="505788"/>
                </a:cubicBezTo>
                <a:lnTo>
                  <a:pt x="1463221" y="485359"/>
                </a:lnTo>
                <a:lnTo>
                  <a:pt x="1298753" y="484536"/>
                </a:lnTo>
                <a:lnTo>
                  <a:pt x="1134281" y="483712"/>
                </a:lnTo>
                <a:lnTo>
                  <a:pt x="1136072" y="490824"/>
                </a:lnTo>
                <a:cubicBezTo>
                  <a:pt x="1149993" y="546041"/>
                  <a:pt x="1150133" y="810870"/>
                  <a:pt x="1136264" y="877455"/>
                </a:cubicBezTo>
                <a:lnTo>
                  <a:pt x="1134460" y="886131"/>
                </a:lnTo>
                <a:lnTo>
                  <a:pt x="1299085" y="885308"/>
                </a:lnTo>
                <a:lnTo>
                  <a:pt x="1463713" y="884511"/>
                </a:lnTo>
                <a:lnTo>
                  <a:pt x="1472417" y="854363"/>
                </a:lnTo>
                <a:close/>
                <a:moveTo>
                  <a:pt x="545510" y="388709"/>
                </a:moveTo>
                <a:cubicBezTo>
                  <a:pt x="574651" y="254276"/>
                  <a:pt x="626205" y="138817"/>
                  <a:pt x="685313" y="75664"/>
                </a:cubicBezTo>
                <a:lnTo>
                  <a:pt x="700423" y="59519"/>
                </a:lnTo>
                <a:lnTo>
                  <a:pt x="689509" y="61496"/>
                </a:lnTo>
                <a:cubicBezTo>
                  <a:pt x="667441" y="65477"/>
                  <a:pt x="602556" y="85357"/>
                  <a:pt x="575537" y="96395"/>
                </a:cubicBezTo>
                <a:cubicBezTo>
                  <a:pt x="428035" y="156637"/>
                  <a:pt x="309209" y="263776"/>
                  <a:pt x="237234" y="401449"/>
                </a:cubicBezTo>
                <a:cubicBezTo>
                  <a:pt x="228959" y="417264"/>
                  <a:pt x="222188" y="431680"/>
                  <a:pt x="222188" y="433437"/>
                </a:cubicBezTo>
                <a:cubicBezTo>
                  <a:pt x="222188" y="435551"/>
                  <a:pt x="274481" y="436622"/>
                  <a:pt x="378652" y="436622"/>
                </a:cubicBezTo>
                <a:lnTo>
                  <a:pt x="535120" y="436622"/>
                </a:lnTo>
                <a:close/>
                <a:moveTo>
                  <a:pt x="1077878" y="429565"/>
                </a:moveTo>
                <a:cubicBezTo>
                  <a:pt x="1076980" y="425667"/>
                  <a:pt x="1072389" y="405513"/>
                  <a:pt x="1067675" y="384782"/>
                </a:cubicBezTo>
                <a:cubicBezTo>
                  <a:pt x="1030382" y="220695"/>
                  <a:pt x="958923" y="95900"/>
                  <a:pt x="881243" y="59162"/>
                </a:cubicBezTo>
                <a:cubicBezTo>
                  <a:pt x="861275" y="49716"/>
                  <a:pt x="855663" y="48481"/>
                  <a:pt x="832437" y="48481"/>
                </a:cubicBezTo>
                <a:cubicBezTo>
                  <a:pt x="809603" y="48481"/>
                  <a:pt x="803271" y="49826"/>
                  <a:pt x="783688" y="58723"/>
                </a:cubicBezTo>
                <a:cubicBezTo>
                  <a:pt x="757947" y="70419"/>
                  <a:pt x="719627" y="105044"/>
                  <a:pt x="697609" y="136483"/>
                </a:cubicBezTo>
                <a:cubicBezTo>
                  <a:pt x="653750" y="199086"/>
                  <a:pt x="616457" y="292058"/>
                  <a:pt x="593742" y="395408"/>
                </a:cubicBezTo>
                <a:cubicBezTo>
                  <a:pt x="589129" y="416414"/>
                  <a:pt x="585351" y="434289"/>
                  <a:pt x="585351" y="435112"/>
                </a:cubicBezTo>
                <a:cubicBezTo>
                  <a:pt x="585351" y="435963"/>
                  <a:pt x="696538" y="436622"/>
                  <a:pt x="832431" y="436622"/>
                </a:cubicBezTo>
                <a:lnTo>
                  <a:pt x="1079511" y="436622"/>
                </a:lnTo>
                <a:close/>
                <a:moveTo>
                  <a:pt x="475633" y="1514802"/>
                </a:moveTo>
                <a:cubicBezTo>
                  <a:pt x="471973" y="1513374"/>
                  <a:pt x="467346" y="1510298"/>
                  <a:pt x="465355" y="1507937"/>
                </a:cubicBezTo>
                <a:cubicBezTo>
                  <a:pt x="460679" y="1502418"/>
                  <a:pt x="408677" y="1347804"/>
                  <a:pt x="408677" y="1339430"/>
                </a:cubicBezTo>
                <a:cubicBezTo>
                  <a:pt x="408677" y="1335943"/>
                  <a:pt x="411431" y="1329792"/>
                  <a:pt x="414798" y="1325811"/>
                </a:cubicBezTo>
                <a:cubicBezTo>
                  <a:pt x="422672" y="1316475"/>
                  <a:pt x="443235" y="1315651"/>
                  <a:pt x="449913" y="1324438"/>
                </a:cubicBezTo>
                <a:cubicBezTo>
                  <a:pt x="452376" y="1327678"/>
                  <a:pt x="461368" y="1350577"/>
                  <a:pt x="469894" y="1375344"/>
                </a:cubicBezTo>
                <a:cubicBezTo>
                  <a:pt x="478420" y="1400111"/>
                  <a:pt x="486278" y="1420375"/>
                  <a:pt x="487360" y="1420375"/>
                </a:cubicBezTo>
                <a:cubicBezTo>
                  <a:pt x="488442" y="1420375"/>
                  <a:pt x="496306" y="1403488"/>
                  <a:pt x="504837" y="1382868"/>
                </a:cubicBezTo>
                <a:cubicBezTo>
                  <a:pt x="513368" y="1362247"/>
                  <a:pt x="522099" y="1343988"/>
                  <a:pt x="524241" y="1342258"/>
                </a:cubicBezTo>
                <a:cubicBezTo>
                  <a:pt x="526383" y="1340555"/>
                  <a:pt x="532185" y="1338194"/>
                  <a:pt x="537135" y="1336986"/>
                </a:cubicBezTo>
                <a:cubicBezTo>
                  <a:pt x="551970" y="1333416"/>
                  <a:pt x="560370" y="1341626"/>
                  <a:pt x="573220" y="1372241"/>
                </a:cubicBezTo>
                <a:cubicBezTo>
                  <a:pt x="579609" y="1387481"/>
                  <a:pt x="587284" y="1405493"/>
                  <a:pt x="590271" y="1412247"/>
                </a:cubicBezTo>
                <a:lnTo>
                  <a:pt x="595702" y="1424548"/>
                </a:lnTo>
                <a:lnTo>
                  <a:pt x="611768" y="1377513"/>
                </a:lnTo>
                <a:cubicBezTo>
                  <a:pt x="620606" y="1351648"/>
                  <a:pt x="629882" y="1327815"/>
                  <a:pt x="632383" y="1324520"/>
                </a:cubicBezTo>
                <a:cubicBezTo>
                  <a:pt x="639129" y="1315651"/>
                  <a:pt x="659646" y="1316420"/>
                  <a:pt x="667567" y="1325811"/>
                </a:cubicBezTo>
                <a:cubicBezTo>
                  <a:pt x="670933" y="1329792"/>
                  <a:pt x="673687" y="1335970"/>
                  <a:pt x="673687" y="1339539"/>
                </a:cubicBezTo>
                <a:cubicBezTo>
                  <a:pt x="673687" y="1349863"/>
                  <a:pt x="621219" y="1503105"/>
                  <a:pt x="615604" y="1509173"/>
                </a:cubicBezTo>
                <a:cubicBezTo>
                  <a:pt x="612493" y="1512523"/>
                  <a:pt x="605815" y="1514665"/>
                  <a:pt x="598437" y="1514665"/>
                </a:cubicBezTo>
                <a:cubicBezTo>
                  <a:pt x="582671" y="1514665"/>
                  <a:pt x="579338" y="1510573"/>
                  <a:pt x="562520" y="1470677"/>
                </a:cubicBezTo>
                <a:cubicBezTo>
                  <a:pt x="539485" y="1416009"/>
                  <a:pt x="543159" y="1416695"/>
                  <a:pt x="523398" y="1463209"/>
                </a:cubicBezTo>
                <a:cubicBezTo>
                  <a:pt x="513944" y="1485449"/>
                  <a:pt x="503774" y="1505988"/>
                  <a:pt x="500795" y="1508843"/>
                </a:cubicBezTo>
                <a:cubicBezTo>
                  <a:pt x="493667" y="1515653"/>
                  <a:pt x="483873" y="1517959"/>
                  <a:pt x="475633" y="1514802"/>
                </a:cubicBezTo>
                <a:close/>
                <a:moveTo>
                  <a:pt x="770091" y="1514802"/>
                </a:moveTo>
                <a:cubicBezTo>
                  <a:pt x="766431" y="1513374"/>
                  <a:pt x="761673" y="1510189"/>
                  <a:pt x="759520" y="1507690"/>
                </a:cubicBezTo>
                <a:cubicBezTo>
                  <a:pt x="753770" y="1501045"/>
                  <a:pt x="703133" y="1349699"/>
                  <a:pt x="703133" y="1339183"/>
                </a:cubicBezTo>
                <a:cubicBezTo>
                  <a:pt x="703133" y="1323861"/>
                  <a:pt x="721675" y="1313455"/>
                  <a:pt x="737027" y="1320182"/>
                </a:cubicBezTo>
                <a:cubicBezTo>
                  <a:pt x="746305" y="1324245"/>
                  <a:pt x="748246" y="1328474"/>
                  <a:pt x="767867" y="1387371"/>
                </a:cubicBezTo>
                <a:lnTo>
                  <a:pt x="780429" y="1425097"/>
                </a:lnTo>
                <a:lnTo>
                  <a:pt x="791676" y="1398409"/>
                </a:lnTo>
                <a:cubicBezTo>
                  <a:pt x="816745" y="1338880"/>
                  <a:pt x="825215" y="1329545"/>
                  <a:pt x="845506" y="1339018"/>
                </a:cubicBezTo>
                <a:cubicBezTo>
                  <a:pt x="853167" y="1342587"/>
                  <a:pt x="857728" y="1350220"/>
                  <a:pt x="871135" y="1381879"/>
                </a:cubicBezTo>
                <a:cubicBezTo>
                  <a:pt x="880109" y="1403049"/>
                  <a:pt x="888384" y="1420375"/>
                  <a:pt x="889532" y="1420375"/>
                </a:cubicBezTo>
                <a:cubicBezTo>
                  <a:pt x="890680" y="1420375"/>
                  <a:pt x="898898" y="1398820"/>
                  <a:pt x="907797" y="1372434"/>
                </a:cubicBezTo>
                <a:cubicBezTo>
                  <a:pt x="922289" y="1329517"/>
                  <a:pt x="924963" y="1324081"/>
                  <a:pt x="933423" y="1320209"/>
                </a:cubicBezTo>
                <a:cubicBezTo>
                  <a:pt x="941586" y="1316475"/>
                  <a:pt x="944346" y="1316585"/>
                  <a:pt x="953786" y="1320896"/>
                </a:cubicBezTo>
                <a:cubicBezTo>
                  <a:pt x="972144" y="1329325"/>
                  <a:pt x="971573" y="1334240"/>
                  <a:pt x="942188" y="1421308"/>
                </a:cubicBezTo>
                <a:cubicBezTo>
                  <a:pt x="927481" y="1464884"/>
                  <a:pt x="913286" y="1503709"/>
                  <a:pt x="910641" y="1507580"/>
                </a:cubicBezTo>
                <a:cubicBezTo>
                  <a:pt x="904812" y="1516174"/>
                  <a:pt x="885056" y="1517355"/>
                  <a:pt x="876215" y="1509667"/>
                </a:cubicBezTo>
                <a:cubicBezTo>
                  <a:pt x="873055" y="1506921"/>
                  <a:pt x="862802" y="1486328"/>
                  <a:pt x="853431" y="1463895"/>
                </a:cubicBezTo>
                <a:cubicBezTo>
                  <a:pt x="844062" y="1441462"/>
                  <a:pt x="835311" y="1424274"/>
                  <a:pt x="833985" y="1425674"/>
                </a:cubicBezTo>
                <a:cubicBezTo>
                  <a:pt x="832659" y="1427075"/>
                  <a:pt x="824490" y="1445004"/>
                  <a:pt x="815830" y="1465515"/>
                </a:cubicBezTo>
                <a:cubicBezTo>
                  <a:pt x="807170" y="1486026"/>
                  <a:pt x="797780" y="1505356"/>
                  <a:pt x="794960" y="1508459"/>
                </a:cubicBezTo>
                <a:cubicBezTo>
                  <a:pt x="788493" y="1515598"/>
                  <a:pt x="778677" y="1518097"/>
                  <a:pt x="770091" y="1514774"/>
                </a:cubicBezTo>
                <a:close/>
                <a:moveTo>
                  <a:pt x="171839" y="1507580"/>
                </a:moveTo>
                <a:cubicBezTo>
                  <a:pt x="169258" y="1503709"/>
                  <a:pt x="155059" y="1464884"/>
                  <a:pt x="140287" y="1421308"/>
                </a:cubicBezTo>
                <a:cubicBezTo>
                  <a:pt x="110770" y="1334240"/>
                  <a:pt x="110196" y="1329325"/>
                  <a:pt x="128582" y="1320896"/>
                </a:cubicBezTo>
                <a:cubicBezTo>
                  <a:pt x="138019" y="1316585"/>
                  <a:pt x="140779" y="1316475"/>
                  <a:pt x="148944" y="1320209"/>
                </a:cubicBezTo>
                <a:cubicBezTo>
                  <a:pt x="157396" y="1324054"/>
                  <a:pt x="160089" y="1329545"/>
                  <a:pt x="174620" y="1372461"/>
                </a:cubicBezTo>
                <a:cubicBezTo>
                  <a:pt x="183549" y="1398820"/>
                  <a:pt x="191814" y="1420375"/>
                  <a:pt x="192986" y="1420375"/>
                </a:cubicBezTo>
                <a:cubicBezTo>
                  <a:pt x="194162" y="1420375"/>
                  <a:pt x="202152" y="1403763"/>
                  <a:pt x="210741" y="1383444"/>
                </a:cubicBezTo>
                <a:cubicBezTo>
                  <a:pt x="228948" y="1340391"/>
                  <a:pt x="229420" y="1339704"/>
                  <a:pt x="242177" y="1337014"/>
                </a:cubicBezTo>
                <a:cubicBezTo>
                  <a:pt x="258893" y="1333499"/>
                  <a:pt x="265626" y="1341022"/>
                  <a:pt x="284626" y="1384570"/>
                </a:cubicBezTo>
                <a:lnTo>
                  <a:pt x="302078" y="1424576"/>
                </a:lnTo>
                <a:lnTo>
                  <a:pt x="319047" y="1375125"/>
                </a:lnTo>
                <a:cubicBezTo>
                  <a:pt x="328380" y="1347942"/>
                  <a:pt x="336538" y="1325261"/>
                  <a:pt x="337175" y="1324740"/>
                </a:cubicBezTo>
                <a:cubicBezTo>
                  <a:pt x="353638" y="1311258"/>
                  <a:pt x="379232" y="1320209"/>
                  <a:pt x="379232" y="1339457"/>
                </a:cubicBezTo>
                <a:cubicBezTo>
                  <a:pt x="379232" y="1352170"/>
                  <a:pt x="328322" y="1501649"/>
                  <a:pt x="321535" y="1508843"/>
                </a:cubicBezTo>
                <a:cubicBezTo>
                  <a:pt x="318020" y="1512578"/>
                  <a:pt x="311565" y="1514665"/>
                  <a:pt x="303550" y="1514665"/>
                </a:cubicBezTo>
                <a:cubicBezTo>
                  <a:pt x="288133" y="1514665"/>
                  <a:pt x="286441" y="1512385"/>
                  <a:pt x="266081" y="1464389"/>
                </a:cubicBezTo>
                <a:cubicBezTo>
                  <a:pt x="257649" y="1444510"/>
                  <a:pt x="249736" y="1427129"/>
                  <a:pt x="248492" y="1425784"/>
                </a:cubicBezTo>
                <a:cubicBezTo>
                  <a:pt x="247248" y="1424466"/>
                  <a:pt x="238465" y="1441682"/>
                  <a:pt x="228975" y="1464087"/>
                </a:cubicBezTo>
                <a:cubicBezTo>
                  <a:pt x="219486" y="1486493"/>
                  <a:pt x="209175" y="1507031"/>
                  <a:pt x="206065" y="1509750"/>
                </a:cubicBezTo>
                <a:cubicBezTo>
                  <a:pt x="197286" y="1517383"/>
                  <a:pt x="177509" y="1516147"/>
                  <a:pt x="171839" y="1507608"/>
                </a:cubicBezTo>
                <a:close/>
              </a:path>
            </a:pathLst>
          </a:custGeom>
          <a:solidFill>
            <a:schemeClr val="bg1"/>
          </a:solidFill>
          <a:ln w="3201" cap="flat">
            <a:noFill/>
            <a:prstDash val="solid"/>
            <a:miter/>
          </a:ln>
        </p:spPr>
        <p:txBody>
          <a:bodyPr rtlCol="0" anchor="ctr"/>
          <a:lstStyle/>
          <a:p>
            <a:endParaRPr lang="en-IN" dirty="0"/>
          </a:p>
        </p:txBody>
      </p:sp>
      <p:grpSp>
        <p:nvGrpSpPr>
          <p:cNvPr id="64" name="Group 63">
            <a:extLst>
              <a:ext uri="{FF2B5EF4-FFF2-40B4-BE49-F238E27FC236}">
                <a16:creationId xmlns:a16="http://schemas.microsoft.com/office/drawing/2014/main" id="{53387DBC-D516-4D97-815C-89CCD3F8F172}"/>
              </a:ext>
            </a:extLst>
          </p:cNvPr>
          <p:cNvGrpSpPr/>
          <p:nvPr/>
        </p:nvGrpSpPr>
        <p:grpSpPr>
          <a:xfrm>
            <a:off x="5884429" y="5469462"/>
            <a:ext cx="731520" cy="731520"/>
            <a:chOff x="5842585" y="5424310"/>
            <a:chExt cx="822960" cy="822960"/>
          </a:xfrm>
        </p:grpSpPr>
        <p:sp>
          <p:nvSpPr>
            <p:cNvPr id="59" name="Oval 58">
              <a:extLst>
                <a:ext uri="{FF2B5EF4-FFF2-40B4-BE49-F238E27FC236}">
                  <a16:creationId xmlns:a16="http://schemas.microsoft.com/office/drawing/2014/main" id="{BD72D0D9-4704-425D-892D-236885E5FB52}"/>
                </a:ext>
              </a:extLst>
            </p:cNvPr>
            <p:cNvSpPr/>
            <p:nvPr/>
          </p:nvSpPr>
          <p:spPr>
            <a:xfrm flipH="1">
              <a:off x="5842585" y="5424310"/>
              <a:ext cx="822960" cy="822960"/>
            </a:xfrm>
            <a:prstGeom prst="ellipse">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eaLnBrk="1" fontAlgn="auto" hangingPunct="1">
                <a:spcBef>
                  <a:spcPts val="0"/>
                </a:spcBef>
                <a:spcAft>
                  <a:spcPts val="0"/>
                </a:spcAft>
              </a:pPr>
              <a:endParaRPr lang="en-US" sz="975" b="1" dirty="0">
                <a:solidFill>
                  <a:prstClr val="white"/>
                </a:solidFill>
                <a:latin typeface="Calibri" panose="020F0502020204030204"/>
              </a:endParaRPr>
            </a:p>
          </p:txBody>
        </p:sp>
        <p:sp>
          <p:nvSpPr>
            <p:cNvPr id="18" name="Freeform: Shape 17">
              <a:extLst>
                <a:ext uri="{FF2B5EF4-FFF2-40B4-BE49-F238E27FC236}">
                  <a16:creationId xmlns:a16="http://schemas.microsoft.com/office/drawing/2014/main" id="{29F1142F-AED8-4840-9BB0-BD0D11BBFCC4}"/>
                </a:ext>
              </a:extLst>
            </p:cNvPr>
            <p:cNvSpPr/>
            <p:nvPr/>
          </p:nvSpPr>
          <p:spPr>
            <a:xfrm>
              <a:off x="6025465" y="5607190"/>
              <a:ext cx="457200" cy="457200"/>
            </a:xfrm>
            <a:custGeom>
              <a:avLst/>
              <a:gdLst>
                <a:gd name="connsiteX0" fmla="*/ 200506 w 2268528"/>
                <a:gd name="connsiteY0" fmla="*/ 1509549 h 1517176"/>
                <a:gd name="connsiteX1" fmla="*/ 79852 w 2268528"/>
                <a:gd name="connsiteY1" fmla="*/ 1446122 h 1517176"/>
                <a:gd name="connsiteX2" fmla="*/ 290 w 2268528"/>
                <a:gd name="connsiteY2" fmla="*/ 1279860 h 1517176"/>
                <a:gd name="connsiteX3" fmla="*/ 86419 w 2268528"/>
                <a:gd name="connsiteY3" fmla="*/ 803715 h 1517176"/>
                <a:gd name="connsiteX4" fmla="*/ 99495 w 2268528"/>
                <a:gd name="connsiteY4" fmla="*/ 792440 h 1517176"/>
                <a:gd name="connsiteX5" fmla="*/ 144177 w 2268528"/>
                <a:gd name="connsiteY5" fmla="*/ 802407 h 1517176"/>
                <a:gd name="connsiteX6" fmla="*/ 108696 w 2268528"/>
                <a:gd name="connsiteY6" fmla="*/ 1037461 h 1517176"/>
                <a:gd name="connsiteX7" fmla="*/ 66727 w 2268528"/>
                <a:gd name="connsiteY7" fmla="*/ 1278029 h 1517176"/>
                <a:gd name="connsiteX8" fmla="*/ 157779 w 2268528"/>
                <a:gd name="connsiteY8" fmla="*/ 1428521 h 1517176"/>
                <a:gd name="connsiteX9" fmla="*/ 373432 w 2268528"/>
                <a:gd name="connsiteY9" fmla="*/ 1433025 h 1517176"/>
                <a:gd name="connsiteX10" fmla="*/ 447691 w 2268528"/>
                <a:gd name="connsiteY10" fmla="*/ 1362766 h 1517176"/>
                <a:gd name="connsiteX11" fmla="*/ 526055 w 2268528"/>
                <a:gd name="connsiteY11" fmla="*/ 1162435 h 1517176"/>
                <a:gd name="connsiteX12" fmla="*/ 601536 w 2268528"/>
                <a:gd name="connsiteY12" fmla="*/ 972425 h 1517176"/>
                <a:gd name="connsiteX13" fmla="*/ 666446 w 2268528"/>
                <a:gd name="connsiteY13" fmla="*/ 978776 h 1517176"/>
                <a:gd name="connsiteX14" fmla="*/ 907826 w 2268528"/>
                <a:gd name="connsiteY14" fmla="*/ 955684 h 1517176"/>
                <a:gd name="connsiteX15" fmla="*/ 931467 w 2268528"/>
                <a:gd name="connsiteY15" fmla="*/ 937562 h 1517176"/>
                <a:gd name="connsiteX16" fmla="*/ 1134571 w 2268528"/>
                <a:gd name="connsiteY16" fmla="*/ 937562 h 1517176"/>
                <a:gd name="connsiteX17" fmla="*/ 1337675 w 2268528"/>
                <a:gd name="connsiteY17" fmla="*/ 937562 h 1517176"/>
                <a:gd name="connsiteX18" fmla="*/ 1361289 w 2268528"/>
                <a:gd name="connsiteY18" fmla="*/ 955684 h 1517176"/>
                <a:gd name="connsiteX19" fmla="*/ 1602559 w 2268528"/>
                <a:gd name="connsiteY19" fmla="*/ 978845 h 1517176"/>
                <a:gd name="connsiteX20" fmla="*/ 1667387 w 2268528"/>
                <a:gd name="connsiteY20" fmla="*/ 972425 h 1517176"/>
                <a:gd name="connsiteX21" fmla="*/ 1706212 w 2268528"/>
                <a:gd name="connsiteY21" fmla="*/ 1063615 h 1517176"/>
                <a:gd name="connsiteX22" fmla="*/ 1732626 w 2268528"/>
                <a:gd name="connsiteY22" fmla="*/ 1160288 h 1517176"/>
                <a:gd name="connsiteX23" fmla="*/ 1699018 w 2268528"/>
                <a:gd name="connsiteY23" fmla="*/ 1179901 h 1517176"/>
                <a:gd name="connsiteX24" fmla="*/ 1648935 w 2268528"/>
                <a:gd name="connsiteY24" fmla="*/ 1099494 h 1517176"/>
                <a:gd name="connsiteX25" fmla="*/ 1625871 w 2268528"/>
                <a:gd name="connsiteY25" fmla="*/ 1037418 h 1517176"/>
                <a:gd name="connsiteX26" fmla="*/ 1597672 w 2268528"/>
                <a:gd name="connsiteY26" fmla="*/ 1046932 h 1517176"/>
                <a:gd name="connsiteX27" fmla="*/ 1422684 w 2268528"/>
                <a:gd name="connsiteY27" fmla="*/ 1052876 h 1517176"/>
                <a:gd name="connsiteX28" fmla="*/ 1332459 w 2268528"/>
                <a:gd name="connsiteY28" fmla="*/ 1011344 h 1517176"/>
                <a:gd name="connsiteX29" fmla="*/ 1311728 w 2268528"/>
                <a:gd name="connsiteY29" fmla="*/ 997154 h 1517176"/>
                <a:gd name="connsiteX30" fmla="*/ 1134571 w 2268528"/>
                <a:gd name="connsiteY30" fmla="*/ 997154 h 1517176"/>
                <a:gd name="connsiteX31" fmla="*/ 957387 w 2268528"/>
                <a:gd name="connsiteY31" fmla="*/ 997154 h 1517176"/>
                <a:gd name="connsiteX32" fmla="*/ 936656 w 2268528"/>
                <a:gd name="connsiteY32" fmla="*/ 1011344 h 1517176"/>
                <a:gd name="connsiteX33" fmla="*/ 846431 w 2268528"/>
                <a:gd name="connsiteY33" fmla="*/ 1052876 h 1517176"/>
                <a:gd name="connsiteX34" fmla="*/ 671773 w 2268528"/>
                <a:gd name="connsiteY34" fmla="*/ 1046720 h 1517176"/>
                <a:gd name="connsiteX35" fmla="*/ 644095 w 2268528"/>
                <a:gd name="connsiteY35" fmla="*/ 1038282 h 1517176"/>
                <a:gd name="connsiteX36" fmla="*/ 578169 w 2268528"/>
                <a:gd name="connsiteY36" fmla="*/ 1209964 h 1517176"/>
                <a:gd name="connsiteX37" fmla="*/ 498158 w 2268528"/>
                <a:gd name="connsiteY37" fmla="*/ 1403178 h 1517176"/>
                <a:gd name="connsiteX38" fmla="*/ 332036 w 2268528"/>
                <a:gd name="connsiteY38" fmla="*/ 1511499 h 1517176"/>
                <a:gd name="connsiteX39" fmla="*/ 200506 w 2268528"/>
                <a:gd name="connsiteY39" fmla="*/ 1509549 h 1517176"/>
                <a:gd name="connsiteX40" fmla="*/ 1935044 w 2268528"/>
                <a:gd name="connsiteY40" fmla="*/ 1511306 h 1517176"/>
                <a:gd name="connsiteX41" fmla="*/ 1770875 w 2268528"/>
                <a:gd name="connsiteY41" fmla="*/ 1403068 h 1517176"/>
                <a:gd name="connsiteX42" fmla="*/ 1714724 w 2268528"/>
                <a:gd name="connsiteY42" fmla="*/ 1254113 h 1517176"/>
                <a:gd name="connsiteX43" fmla="*/ 1767937 w 2268528"/>
                <a:gd name="connsiteY43" fmla="*/ 1241810 h 1517176"/>
                <a:gd name="connsiteX44" fmla="*/ 1792676 w 2268528"/>
                <a:gd name="connsiteY44" fmla="*/ 1295110 h 1517176"/>
                <a:gd name="connsiteX45" fmla="*/ 1853879 w 2268528"/>
                <a:gd name="connsiteY45" fmla="*/ 1401448 h 1517176"/>
                <a:gd name="connsiteX46" fmla="*/ 2001354 w 2268528"/>
                <a:gd name="connsiteY46" fmla="*/ 1457983 h 1517176"/>
                <a:gd name="connsiteX47" fmla="*/ 2202426 w 2268528"/>
                <a:gd name="connsiteY47" fmla="*/ 1278424 h 1517176"/>
                <a:gd name="connsiteX48" fmla="*/ 2034523 w 2268528"/>
                <a:gd name="connsiteY48" fmla="*/ 388577 h 1517176"/>
                <a:gd name="connsiteX49" fmla="*/ 1816152 w 2268528"/>
                <a:gd name="connsiteY49" fmla="*/ 192908 h 1517176"/>
                <a:gd name="connsiteX50" fmla="*/ 1553300 w 2268528"/>
                <a:gd name="connsiteY50" fmla="*/ 208510 h 1517176"/>
                <a:gd name="connsiteX51" fmla="*/ 1488473 w 2268528"/>
                <a:gd name="connsiteY51" fmla="*/ 244075 h 1517176"/>
                <a:gd name="connsiteX52" fmla="*/ 1463514 w 2268528"/>
                <a:gd name="connsiteY52" fmla="*/ 262088 h 1517176"/>
                <a:gd name="connsiteX53" fmla="*/ 1461592 w 2268528"/>
                <a:gd name="connsiteY53" fmla="*/ 298892 h 1517176"/>
                <a:gd name="connsiteX54" fmla="*/ 1395007 w 2268528"/>
                <a:gd name="connsiteY54" fmla="*/ 402923 h 1517176"/>
                <a:gd name="connsiteX55" fmla="*/ 1278394 w 2268528"/>
                <a:gd name="connsiteY55" fmla="*/ 413163 h 1517176"/>
                <a:gd name="connsiteX56" fmla="*/ 1170019 w 2268528"/>
                <a:gd name="connsiteY56" fmla="*/ 384664 h 1517176"/>
                <a:gd name="connsiteX57" fmla="*/ 1269718 w 2268528"/>
                <a:gd name="connsiteY57" fmla="*/ 356861 h 1517176"/>
                <a:gd name="connsiteX58" fmla="*/ 1367687 w 2268528"/>
                <a:gd name="connsiteY58" fmla="*/ 348780 h 1517176"/>
                <a:gd name="connsiteX59" fmla="*/ 1395996 w 2268528"/>
                <a:gd name="connsiteY59" fmla="*/ 298346 h 1517176"/>
                <a:gd name="connsiteX60" fmla="*/ 1395996 w 2268528"/>
                <a:gd name="connsiteY60" fmla="*/ 282063 h 1517176"/>
                <a:gd name="connsiteX61" fmla="*/ 1134571 w 2268528"/>
                <a:gd name="connsiteY61" fmla="*/ 282063 h 1517176"/>
                <a:gd name="connsiteX62" fmla="*/ 873120 w 2268528"/>
                <a:gd name="connsiteY62" fmla="*/ 282063 h 1517176"/>
                <a:gd name="connsiteX63" fmla="*/ 873120 w 2268528"/>
                <a:gd name="connsiteY63" fmla="*/ 298346 h 1517176"/>
                <a:gd name="connsiteX64" fmla="*/ 901428 w 2268528"/>
                <a:gd name="connsiteY64" fmla="*/ 348780 h 1517176"/>
                <a:gd name="connsiteX65" fmla="*/ 999425 w 2268528"/>
                <a:gd name="connsiteY65" fmla="*/ 356861 h 1517176"/>
                <a:gd name="connsiteX66" fmla="*/ 1099123 w 2268528"/>
                <a:gd name="connsiteY66" fmla="*/ 385353 h 1517176"/>
                <a:gd name="connsiteX67" fmla="*/ 989952 w 2268528"/>
                <a:gd name="connsiteY67" fmla="*/ 413163 h 1517176"/>
                <a:gd name="connsiteX68" fmla="*/ 874108 w 2268528"/>
                <a:gd name="connsiteY68" fmla="*/ 402923 h 1517176"/>
                <a:gd name="connsiteX69" fmla="*/ 807523 w 2268528"/>
                <a:gd name="connsiteY69" fmla="*/ 298892 h 1517176"/>
                <a:gd name="connsiteX70" fmla="*/ 805601 w 2268528"/>
                <a:gd name="connsiteY70" fmla="*/ 262088 h 1517176"/>
                <a:gd name="connsiteX71" fmla="*/ 780642 w 2268528"/>
                <a:gd name="connsiteY71" fmla="*/ 244075 h 1517176"/>
                <a:gd name="connsiteX72" fmla="*/ 715815 w 2268528"/>
                <a:gd name="connsiteY72" fmla="*/ 208510 h 1517176"/>
                <a:gd name="connsiteX73" fmla="*/ 452963 w 2268528"/>
                <a:gd name="connsiteY73" fmla="*/ 192908 h 1517176"/>
                <a:gd name="connsiteX74" fmla="*/ 235015 w 2268528"/>
                <a:gd name="connsiteY74" fmla="*/ 387635 h 1517176"/>
                <a:gd name="connsiteX75" fmla="*/ 197958 w 2268528"/>
                <a:gd name="connsiteY75" fmla="*/ 561464 h 1517176"/>
                <a:gd name="connsiteX76" fmla="*/ 161922 w 2268528"/>
                <a:gd name="connsiteY76" fmla="*/ 719084 h 1517176"/>
                <a:gd name="connsiteX77" fmla="*/ 106557 w 2268528"/>
                <a:gd name="connsiteY77" fmla="*/ 700721 h 1517176"/>
                <a:gd name="connsiteX78" fmla="*/ 169251 w 2268528"/>
                <a:gd name="connsiteY78" fmla="*/ 378376 h 1517176"/>
                <a:gd name="connsiteX79" fmla="*/ 384604 w 2268528"/>
                <a:gd name="connsiteY79" fmla="*/ 153424 h 1517176"/>
                <a:gd name="connsiteX80" fmla="*/ 407869 w 2268528"/>
                <a:gd name="connsiteY80" fmla="*/ 142883 h 1517176"/>
                <a:gd name="connsiteX81" fmla="*/ 407894 w 2268528"/>
                <a:gd name="connsiteY81" fmla="*/ 110176 h 1517176"/>
                <a:gd name="connsiteX82" fmla="*/ 433632 w 2268528"/>
                <a:gd name="connsiteY82" fmla="*/ 30878 h 1517176"/>
                <a:gd name="connsiteX83" fmla="*/ 569905 w 2268528"/>
                <a:gd name="connsiteY83" fmla="*/ 87 h 1517176"/>
                <a:gd name="connsiteX84" fmla="*/ 678445 w 2268528"/>
                <a:gd name="connsiteY84" fmla="*/ 10924 h 1517176"/>
                <a:gd name="connsiteX85" fmla="*/ 715787 w 2268528"/>
                <a:gd name="connsiteY85" fmla="*/ 39058 h 1517176"/>
                <a:gd name="connsiteX86" fmla="*/ 730587 w 2268528"/>
                <a:gd name="connsiteY86" fmla="*/ 101288 h 1517176"/>
                <a:gd name="connsiteX87" fmla="*/ 732070 w 2268528"/>
                <a:gd name="connsiteY87" fmla="*/ 146304 h 1517176"/>
                <a:gd name="connsiteX88" fmla="*/ 766639 w 2268528"/>
                <a:gd name="connsiteY88" fmla="*/ 164303 h 1517176"/>
                <a:gd name="connsiteX89" fmla="*/ 828089 w 2268528"/>
                <a:gd name="connsiteY89" fmla="*/ 202387 h 1517176"/>
                <a:gd name="connsiteX90" fmla="*/ 855025 w 2268528"/>
                <a:gd name="connsiteY90" fmla="*/ 222472 h 1517176"/>
                <a:gd name="connsiteX91" fmla="*/ 1134571 w 2268528"/>
                <a:gd name="connsiteY91" fmla="*/ 222472 h 1517176"/>
                <a:gd name="connsiteX92" fmla="*/ 1414090 w 2268528"/>
                <a:gd name="connsiteY92" fmla="*/ 222472 h 1517176"/>
                <a:gd name="connsiteX93" fmla="*/ 1440779 w 2268528"/>
                <a:gd name="connsiteY93" fmla="*/ 202568 h 1517176"/>
                <a:gd name="connsiteX94" fmla="*/ 1502229 w 2268528"/>
                <a:gd name="connsiteY94" fmla="*/ 164673 h 1517176"/>
                <a:gd name="connsiteX95" fmla="*/ 1537018 w 2268528"/>
                <a:gd name="connsiteY95" fmla="*/ 146683 h 1517176"/>
                <a:gd name="connsiteX96" fmla="*/ 1538501 w 2268528"/>
                <a:gd name="connsiteY96" fmla="*/ 101477 h 1517176"/>
                <a:gd name="connsiteX97" fmla="*/ 1553328 w 2268528"/>
                <a:gd name="connsiteY97" fmla="*/ 39058 h 1517176"/>
                <a:gd name="connsiteX98" fmla="*/ 1590670 w 2268528"/>
                <a:gd name="connsiteY98" fmla="*/ 10924 h 1517176"/>
                <a:gd name="connsiteX99" fmla="*/ 1699210 w 2268528"/>
                <a:gd name="connsiteY99" fmla="*/ 87 h 1517176"/>
                <a:gd name="connsiteX100" fmla="*/ 1835482 w 2268528"/>
                <a:gd name="connsiteY100" fmla="*/ 30878 h 1517176"/>
                <a:gd name="connsiteX101" fmla="*/ 1861210 w 2268528"/>
                <a:gd name="connsiteY101" fmla="*/ 110176 h 1517176"/>
                <a:gd name="connsiteX102" fmla="*/ 1861238 w 2268528"/>
                <a:gd name="connsiteY102" fmla="*/ 142883 h 1517176"/>
                <a:gd name="connsiteX103" fmla="*/ 1884522 w 2268528"/>
                <a:gd name="connsiteY103" fmla="*/ 153424 h 1517176"/>
                <a:gd name="connsiteX104" fmla="*/ 2041003 w 2268528"/>
                <a:gd name="connsiteY104" fmla="*/ 272415 h 1517176"/>
                <a:gd name="connsiteX105" fmla="*/ 2104787 w 2268528"/>
                <a:gd name="connsiteY105" fmla="*/ 395285 h 1517176"/>
                <a:gd name="connsiteX106" fmla="*/ 2268819 w 2268528"/>
                <a:gd name="connsiteY106" fmla="*/ 1280132 h 1517176"/>
                <a:gd name="connsiteX107" fmla="*/ 2239247 w 2268528"/>
                <a:gd name="connsiteY107" fmla="*/ 1385970 h 1517176"/>
                <a:gd name="connsiteX108" fmla="*/ 2128510 w 2268528"/>
                <a:gd name="connsiteY108" fmla="*/ 1488928 h 1517176"/>
                <a:gd name="connsiteX109" fmla="*/ 1935044 w 2268528"/>
                <a:gd name="connsiteY109" fmla="*/ 1511306 h 1517176"/>
                <a:gd name="connsiteX110" fmla="*/ 664881 w 2268528"/>
                <a:gd name="connsiteY110" fmla="*/ 101301 h 1517176"/>
                <a:gd name="connsiteX111" fmla="*/ 571003 w 2268528"/>
                <a:gd name="connsiteY111" fmla="*/ 59588 h 1517176"/>
                <a:gd name="connsiteX112" fmla="*/ 484594 w 2268528"/>
                <a:gd name="connsiteY112" fmla="*/ 68226 h 1517176"/>
                <a:gd name="connsiteX113" fmla="*/ 474325 w 2268528"/>
                <a:gd name="connsiteY113" fmla="*/ 100324 h 1517176"/>
                <a:gd name="connsiteX114" fmla="*/ 474325 w 2268528"/>
                <a:gd name="connsiteY114" fmla="*/ 123786 h 1517176"/>
                <a:gd name="connsiteX115" fmla="*/ 504253 w 2268528"/>
                <a:gd name="connsiteY115" fmla="*/ 120489 h 1517176"/>
                <a:gd name="connsiteX116" fmla="*/ 636078 w 2268528"/>
                <a:gd name="connsiteY116" fmla="*/ 122523 h 1517176"/>
                <a:gd name="connsiteX117" fmla="*/ 664881 w 2268528"/>
                <a:gd name="connsiteY117" fmla="*/ 101304 h 1517176"/>
                <a:gd name="connsiteX118" fmla="*/ 1665520 w 2268528"/>
                <a:gd name="connsiteY118" fmla="*/ 118715 h 1517176"/>
                <a:gd name="connsiteX119" fmla="*/ 1745586 w 2268528"/>
                <a:gd name="connsiteY119" fmla="*/ 118701 h 1517176"/>
                <a:gd name="connsiteX120" fmla="*/ 1789546 w 2268528"/>
                <a:gd name="connsiteY120" fmla="*/ 123152 h 1517176"/>
                <a:gd name="connsiteX121" fmla="*/ 1785592 w 2268528"/>
                <a:gd name="connsiteY121" fmla="*/ 70057 h 1517176"/>
                <a:gd name="connsiteX122" fmla="*/ 1776421 w 2268528"/>
                <a:gd name="connsiteY122" fmla="*/ 59588 h 1517176"/>
                <a:gd name="connsiteX123" fmla="*/ 1699183 w 2268528"/>
                <a:gd name="connsiteY123" fmla="*/ 59588 h 1517176"/>
                <a:gd name="connsiteX124" fmla="*/ 1604262 w 2268528"/>
                <a:gd name="connsiteY124" fmla="*/ 101765 h 1517176"/>
                <a:gd name="connsiteX125" fmla="*/ 1614229 w 2268528"/>
                <a:gd name="connsiteY125" fmla="*/ 125615 h 1517176"/>
                <a:gd name="connsiteX126" fmla="*/ 1665520 w 2268528"/>
                <a:gd name="connsiteY126" fmla="*/ 118715 h 1517176"/>
                <a:gd name="connsiteX127" fmla="*/ 737561 w 2268528"/>
                <a:gd name="connsiteY127" fmla="*/ 935154 h 1517176"/>
                <a:gd name="connsiteX128" fmla="*/ 656122 w 2268528"/>
                <a:gd name="connsiteY128" fmla="*/ 872482 h 1517176"/>
                <a:gd name="connsiteX129" fmla="*/ 640883 w 2268528"/>
                <a:gd name="connsiteY129" fmla="*/ 817012 h 1517176"/>
                <a:gd name="connsiteX130" fmla="*/ 769000 w 2268528"/>
                <a:gd name="connsiteY130" fmla="*/ 696201 h 1517176"/>
                <a:gd name="connsiteX131" fmla="*/ 912054 w 2268528"/>
                <a:gd name="connsiteY131" fmla="*/ 808662 h 1517176"/>
                <a:gd name="connsiteX132" fmla="*/ 877266 w 2268528"/>
                <a:gd name="connsiteY132" fmla="*/ 899344 h 1517176"/>
                <a:gd name="connsiteX133" fmla="*/ 737561 w 2268528"/>
                <a:gd name="connsiteY133" fmla="*/ 935154 h 1517176"/>
                <a:gd name="connsiteX134" fmla="*/ 814937 w 2268528"/>
                <a:gd name="connsiteY134" fmla="*/ 871093 h 1517176"/>
                <a:gd name="connsiteX135" fmla="*/ 846540 w 2268528"/>
                <a:gd name="connsiteY135" fmla="*/ 819387 h 1517176"/>
                <a:gd name="connsiteX136" fmla="*/ 782317 w 2268528"/>
                <a:gd name="connsiteY136" fmla="*/ 755647 h 1517176"/>
                <a:gd name="connsiteX137" fmla="*/ 706616 w 2268528"/>
                <a:gd name="connsiteY137" fmla="*/ 810796 h 1517176"/>
                <a:gd name="connsiteX138" fmla="*/ 814937 w 2268528"/>
                <a:gd name="connsiteY138" fmla="*/ 871093 h 1517176"/>
                <a:gd name="connsiteX139" fmla="*/ 1461290 w 2268528"/>
                <a:gd name="connsiteY139" fmla="*/ 937214 h 1517176"/>
                <a:gd name="connsiteX140" fmla="*/ 1390257 w 2268528"/>
                <a:gd name="connsiteY140" fmla="*/ 897916 h 1517176"/>
                <a:gd name="connsiteX141" fmla="*/ 1357061 w 2268528"/>
                <a:gd name="connsiteY141" fmla="*/ 808662 h 1517176"/>
                <a:gd name="connsiteX142" fmla="*/ 1618897 w 2268528"/>
                <a:gd name="connsiteY142" fmla="*/ 770222 h 1517176"/>
                <a:gd name="connsiteX143" fmla="*/ 1628232 w 2268528"/>
                <a:gd name="connsiteY143" fmla="*/ 817012 h 1517176"/>
                <a:gd name="connsiteX144" fmla="*/ 1612993 w 2268528"/>
                <a:gd name="connsiteY144" fmla="*/ 872482 h 1517176"/>
                <a:gd name="connsiteX145" fmla="*/ 1461290 w 2268528"/>
                <a:gd name="connsiteY145" fmla="*/ 937214 h 1517176"/>
                <a:gd name="connsiteX146" fmla="*/ 1524662 w 2268528"/>
                <a:gd name="connsiteY146" fmla="*/ 872798 h 1517176"/>
                <a:gd name="connsiteX147" fmla="*/ 1548633 w 2268528"/>
                <a:gd name="connsiteY147" fmla="*/ 780005 h 1517176"/>
                <a:gd name="connsiteX148" fmla="*/ 1493250 w 2268528"/>
                <a:gd name="connsiteY148" fmla="*/ 754818 h 1517176"/>
                <a:gd name="connsiteX149" fmla="*/ 1423645 w 2268528"/>
                <a:gd name="connsiteY149" fmla="*/ 808577 h 1517176"/>
                <a:gd name="connsiteX150" fmla="*/ 1438967 w 2268528"/>
                <a:gd name="connsiteY150" fmla="*/ 858328 h 1517176"/>
                <a:gd name="connsiteX151" fmla="*/ 1524662 w 2268528"/>
                <a:gd name="connsiteY151" fmla="*/ 872798 h 1517176"/>
                <a:gd name="connsiteX152" fmla="*/ 1686086 w 2268528"/>
                <a:gd name="connsiteY152" fmla="*/ 721446 h 1517176"/>
                <a:gd name="connsiteX153" fmla="*/ 1636277 w 2268528"/>
                <a:gd name="connsiteY153" fmla="*/ 675482 h 1517176"/>
                <a:gd name="connsiteX154" fmla="*/ 1636277 w 2268528"/>
                <a:gd name="connsiteY154" fmla="*/ 607705 h 1517176"/>
                <a:gd name="connsiteX155" fmla="*/ 1687047 w 2268528"/>
                <a:gd name="connsiteY155" fmla="*/ 561571 h 1517176"/>
                <a:gd name="connsiteX156" fmla="*/ 1723895 w 2268528"/>
                <a:gd name="connsiteY156" fmla="*/ 556181 h 1517176"/>
                <a:gd name="connsiteX157" fmla="*/ 1767278 w 2268528"/>
                <a:gd name="connsiteY157" fmla="*/ 719428 h 1517176"/>
                <a:gd name="connsiteX158" fmla="*/ 1686086 w 2268528"/>
                <a:gd name="connsiteY158" fmla="*/ 721446 h 1517176"/>
                <a:gd name="connsiteX159" fmla="*/ 1746794 w 2268528"/>
                <a:gd name="connsiteY159" fmla="*/ 660841 h 1517176"/>
                <a:gd name="connsiteX160" fmla="*/ 1747563 w 2268528"/>
                <a:gd name="connsiteY160" fmla="*/ 623038 h 1517176"/>
                <a:gd name="connsiteX161" fmla="*/ 1702066 w 2268528"/>
                <a:gd name="connsiteY161" fmla="*/ 626239 h 1517176"/>
                <a:gd name="connsiteX162" fmla="*/ 1692867 w 2268528"/>
                <a:gd name="connsiteY162" fmla="*/ 641594 h 1517176"/>
                <a:gd name="connsiteX163" fmla="*/ 1702066 w 2268528"/>
                <a:gd name="connsiteY163" fmla="*/ 656951 h 1517176"/>
                <a:gd name="connsiteX164" fmla="*/ 1746794 w 2268528"/>
                <a:gd name="connsiteY164" fmla="*/ 660841 h 1517176"/>
                <a:gd name="connsiteX165" fmla="*/ 525286 w 2268528"/>
                <a:gd name="connsiteY165" fmla="*/ 679817 h 1517176"/>
                <a:gd name="connsiteX166" fmla="*/ 463479 w 2268528"/>
                <a:gd name="connsiteY166" fmla="*/ 605322 h 1517176"/>
                <a:gd name="connsiteX167" fmla="*/ 439398 w 2268528"/>
                <a:gd name="connsiteY167" fmla="*/ 586412 h 1517176"/>
                <a:gd name="connsiteX168" fmla="*/ 354725 w 2268528"/>
                <a:gd name="connsiteY168" fmla="*/ 516541 h 1517176"/>
                <a:gd name="connsiteX169" fmla="*/ 442611 w 2268528"/>
                <a:gd name="connsiteY169" fmla="*/ 402871 h 1517176"/>
                <a:gd name="connsiteX170" fmla="*/ 463479 w 2268528"/>
                <a:gd name="connsiteY170" fmla="*/ 383895 h 1517176"/>
                <a:gd name="connsiteX171" fmla="*/ 578554 w 2268528"/>
                <a:gd name="connsiteY171" fmla="*/ 303304 h 1517176"/>
                <a:gd name="connsiteX172" fmla="*/ 641322 w 2268528"/>
                <a:gd name="connsiteY172" fmla="*/ 330342 h 1517176"/>
                <a:gd name="connsiteX173" fmla="*/ 669192 w 2268528"/>
                <a:gd name="connsiteY173" fmla="*/ 387822 h 1517176"/>
                <a:gd name="connsiteX174" fmla="*/ 690663 w 2268528"/>
                <a:gd name="connsiteY174" fmla="*/ 402761 h 1517176"/>
                <a:gd name="connsiteX175" fmla="*/ 765348 w 2268528"/>
                <a:gd name="connsiteY175" fmla="*/ 445285 h 1517176"/>
                <a:gd name="connsiteX176" fmla="*/ 774546 w 2268528"/>
                <a:gd name="connsiteY176" fmla="*/ 528531 h 1517176"/>
                <a:gd name="connsiteX177" fmla="*/ 683689 w 2268528"/>
                <a:gd name="connsiteY177" fmla="*/ 587925 h 1517176"/>
                <a:gd name="connsiteX178" fmla="*/ 669301 w 2268528"/>
                <a:gd name="connsiteY178" fmla="*/ 598427 h 1517176"/>
                <a:gd name="connsiteX179" fmla="*/ 600108 w 2268528"/>
                <a:gd name="connsiteY179" fmla="*/ 682426 h 1517176"/>
                <a:gd name="connsiteX180" fmla="*/ 525286 w 2268528"/>
                <a:gd name="connsiteY180" fmla="*/ 679817 h 1517176"/>
                <a:gd name="connsiteX181" fmla="*/ 590114 w 2268528"/>
                <a:gd name="connsiteY181" fmla="*/ 620135 h 1517176"/>
                <a:gd name="connsiteX182" fmla="*/ 603074 w 2268528"/>
                <a:gd name="connsiteY182" fmla="*/ 577851 h 1517176"/>
                <a:gd name="connsiteX183" fmla="*/ 658922 w 2268528"/>
                <a:gd name="connsiteY183" fmla="*/ 528372 h 1517176"/>
                <a:gd name="connsiteX184" fmla="*/ 702745 w 2268528"/>
                <a:gd name="connsiteY184" fmla="*/ 518619 h 1517176"/>
                <a:gd name="connsiteX185" fmla="*/ 705381 w 2268528"/>
                <a:gd name="connsiteY185" fmla="*/ 472471 h 1517176"/>
                <a:gd name="connsiteX186" fmla="*/ 659005 w 2268528"/>
                <a:gd name="connsiteY186" fmla="*/ 461093 h 1517176"/>
                <a:gd name="connsiteX187" fmla="*/ 603046 w 2268528"/>
                <a:gd name="connsiteY187" fmla="*/ 410884 h 1517176"/>
                <a:gd name="connsiteX188" fmla="*/ 590114 w 2268528"/>
                <a:gd name="connsiteY188" fmla="*/ 369074 h 1517176"/>
                <a:gd name="connsiteX189" fmla="*/ 542255 w 2268528"/>
                <a:gd name="connsiteY189" fmla="*/ 371020 h 1517176"/>
                <a:gd name="connsiteX190" fmla="*/ 528279 w 2268528"/>
                <a:gd name="connsiteY190" fmla="*/ 411740 h 1517176"/>
                <a:gd name="connsiteX191" fmla="*/ 475423 w 2268528"/>
                <a:gd name="connsiteY191" fmla="*/ 460834 h 1517176"/>
                <a:gd name="connsiteX192" fmla="*/ 429679 w 2268528"/>
                <a:gd name="connsiteY192" fmla="*/ 472449 h 1517176"/>
                <a:gd name="connsiteX193" fmla="*/ 429679 w 2268528"/>
                <a:gd name="connsiteY193" fmla="*/ 516760 h 1517176"/>
                <a:gd name="connsiteX194" fmla="*/ 473391 w 2268528"/>
                <a:gd name="connsiteY194" fmla="*/ 528372 h 1517176"/>
                <a:gd name="connsiteX195" fmla="*/ 528169 w 2268528"/>
                <a:gd name="connsiteY195" fmla="*/ 575698 h 1517176"/>
                <a:gd name="connsiteX196" fmla="*/ 540470 w 2268528"/>
                <a:gd name="connsiteY196" fmla="*/ 617456 h 1517176"/>
                <a:gd name="connsiteX197" fmla="*/ 590114 w 2268528"/>
                <a:gd name="connsiteY197" fmla="*/ 620135 h 1517176"/>
                <a:gd name="connsiteX198" fmla="*/ 923257 w 2268528"/>
                <a:gd name="connsiteY198" fmla="*/ 607953 h 1517176"/>
                <a:gd name="connsiteX199" fmla="*/ 913180 w 2268528"/>
                <a:gd name="connsiteY199" fmla="*/ 560904 h 1517176"/>
                <a:gd name="connsiteX200" fmla="*/ 986300 w 2268528"/>
                <a:gd name="connsiteY200" fmla="*/ 552208 h 1517176"/>
                <a:gd name="connsiteX201" fmla="*/ 1059227 w 2268528"/>
                <a:gd name="connsiteY201" fmla="*/ 560154 h 1517176"/>
                <a:gd name="connsiteX202" fmla="*/ 1059639 w 2268528"/>
                <a:gd name="connsiteY202" fmla="*/ 600435 h 1517176"/>
                <a:gd name="connsiteX203" fmla="*/ 992066 w 2268528"/>
                <a:gd name="connsiteY203" fmla="*/ 610709 h 1517176"/>
                <a:gd name="connsiteX204" fmla="*/ 923257 w 2268528"/>
                <a:gd name="connsiteY204" fmla="*/ 607953 h 1517176"/>
                <a:gd name="connsiteX205" fmla="*/ 1220157 w 2268528"/>
                <a:gd name="connsiteY205" fmla="*/ 607953 h 1517176"/>
                <a:gd name="connsiteX206" fmla="*/ 1209888 w 2268528"/>
                <a:gd name="connsiteY206" fmla="*/ 560154 h 1517176"/>
                <a:gd name="connsiteX207" fmla="*/ 1282815 w 2268528"/>
                <a:gd name="connsiteY207" fmla="*/ 552208 h 1517176"/>
                <a:gd name="connsiteX208" fmla="*/ 1355935 w 2268528"/>
                <a:gd name="connsiteY208" fmla="*/ 560904 h 1517176"/>
                <a:gd name="connsiteX209" fmla="*/ 1356511 w 2268528"/>
                <a:gd name="connsiteY209" fmla="*/ 600435 h 1517176"/>
                <a:gd name="connsiteX210" fmla="*/ 1288938 w 2268528"/>
                <a:gd name="connsiteY210" fmla="*/ 610709 h 1517176"/>
                <a:gd name="connsiteX211" fmla="*/ 1220157 w 2268528"/>
                <a:gd name="connsiteY211" fmla="*/ 607953 h 1517176"/>
                <a:gd name="connsiteX212" fmla="*/ 1522136 w 2268528"/>
                <a:gd name="connsiteY212" fmla="*/ 574454 h 1517176"/>
                <a:gd name="connsiteX213" fmla="*/ 1472904 w 2268528"/>
                <a:gd name="connsiteY213" fmla="*/ 529613 h 1517176"/>
                <a:gd name="connsiteX214" fmla="*/ 1471010 w 2268528"/>
                <a:gd name="connsiteY214" fmla="*/ 463523 h 1517176"/>
                <a:gd name="connsiteX215" fmla="*/ 1522246 w 2268528"/>
                <a:gd name="connsiteY215" fmla="*/ 416597 h 1517176"/>
                <a:gd name="connsiteX216" fmla="*/ 1561180 w 2268528"/>
                <a:gd name="connsiteY216" fmla="*/ 409277 h 1517176"/>
                <a:gd name="connsiteX217" fmla="*/ 1603328 w 2268528"/>
                <a:gd name="connsiteY217" fmla="*/ 572436 h 1517176"/>
                <a:gd name="connsiteX218" fmla="*/ 1522136 w 2268528"/>
                <a:gd name="connsiteY218" fmla="*/ 574454 h 1517176"/>
                <a:gd name="connsiteX219" fmla="*/ 1583202 w 2268528"/>
                <a:gd name="connsiteY219" fmla="*/ 513248 h 1517176"/>
                <a:gd name="connsiteX220" fmla="*/ 1583613 w 2268528"/>
                <a:gd name="connsiteY220" fmla="*/ 476046 h 1517176"/>
                <a:gd name="connsiteX221" fmla="*/ 1562142 w 2268528"/>
                <a:gd name="connsiteY221" fmla="*/ 468781 h 1517176"/>
                <a:gd name="connsiteX222" fmla="*/ 1553135 w 2268528"/>
                <a:gd name="connsiteY222" fmla="*/ 520349 h 1517176"/>
                <a:gd name="connsiteX223" fmla="*/ 1583202 w 2268528"/>
                <a:gd name="connsiteY223" fmla="*/ 513248 h 1517176"/>
                <a:gd name="connsiteX224" fmla="*/ 1844159 w 2268528"/>
                <a:gd name="connsiteY224" fmla="*/ 571442 h 1517176"/>
                <a:gd name="connsiteX225" fmla="*/ 1794900 w 2268528"/>
                <a:gd name="connsiteY225" fmla="*/ 512886 h 1517176"/>
                <a:gd name="connsiteX226" fmla="*/ 1887460 w 2268528"/>
                <a:gd name="connsiteY226" fmla="*/ 409189 h 1517176"/>
                <a:gd name="connsiteX227" fmla="*/ 1931227 w 2268528"/>
                <a:gd name="connsiteY227" fmla="*/ 572436 h 1517176"/>
                <a:gd name="connsiteX228" fmla="*/ 1844159 w 2268528"/>
                <a:gd name="connsiteY228" fmla="*/ 571442 h 1517176"/>
                <a:gd name="connsiteX229" fmla="*/ 1911101 w 2268528"/>
                <a:gd name="connsiteY229" fmla="*/ 513248 h 1517176"/>
                <a:gd name="connsiteX230" fmla="*/ 1911787 w 2268528"/>
                <a:gd name="connsiteY230" fmla="*/ 477394 h 1517176"/>
                <a:gd name="connsiteX231" fmla="*/ 1864368 w 2268528"/>
                <a:gd name="connsiteY231" fmla="*/ 481439 h 1517176"/>
                <a:gd name="connsiteX232" fmla="*/ 1861046 w 2268528"/>
                <a:gd name="connsiteY232" fmla="*/ 504086 h 1517176"/>
                <a:gd name="connsiteX233" fmla="*/ 1911101 w 2268528"/>
                <a:gd name="connsiteY233" fmla="*/ 513248 h 1517176"/>
                <a:gd name="connsiteX234" fmla="*/ 1706157 w 2268528"/>
                <a:gd name="connsiteY234" fmla="*/ 432278 h 1517176"/>
                <a:gd name="connsiteX235" fmla="*/ 1629907 w 2268528"/>
                <a:gd name="connsiteY235" fmla="*/ 348631 h 1517176"/>
                <a:gd name="connsiteX236" fmla="*/ 1653768 w 2268528"/>
                <a:gd name="connsiteY236" fmla="*/ 291811 h 1517176"/>
                <a:gd name="connsiteX237" fmla="*/ 1821259 w 2268528"/>
                <a:gd name="connsiteY237" fmla="*/ 346748 h 1517176"/>
                <a:gd name="connsiteX238" fmla="*/ 1706157 w 2268528"/>
                <a:gd name="connsiteY238" fmla="*/ 432278 h 1517176"/>
                <a:gd name="connsiteX239" fmla="*/ 1747151 w 2268528"/>
                <a:gd name="connsiteY239" fmla="*/ 366391 h 1517176"/>
                <a:gd name="connsiteX240" fmla="*/ 1747563 w 2268528"/>
                <a:gd name="connsiteY240" fmla="*/ 329054 h 1517176"/>
                <a:gd name="connsiteX241" fmla="*/ 1697920 w 2268528"/>
                <a:gd name="connsiteY241" fmla="*/ 359172 h 1517176"/>
                <a:gd name="connsiteX242" fmla="*/ 1747151 w 2268528"/>
                <a:gd name="connsiteY242" fmla="*/ 366391 h 151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2268528" h="1517176">
                  <a:moveTo>
                    <a:pt x="200506" y="1509549"/>
                  </a:moveTo>
                  <a:cubicBezTo>
                    <a:pt x="152483" y="1498264"/>
                    <a:pt x="117738" y="1480005"/>
                    <a:pt x="79852" y="1446122"/>
                  </a:cubicBezTo>
                  <a:cubicBezTo>
                    <a:pt x="29168" y="1400789"/>
                    <a:pt x="513" y="1340901"/>
                    <a:pt x="290" y="1279860"/>
                  </a:cubicBezTo>
                  <a:cubicBezTo>
                    <a:pt x="224" y="1262081"/>
                    <a:pt x="80544" y="818056"/>
                    <a:pt x="86419" y="803715"/>
                  </a:cubicBezTo>
                  <a:cubicBezTo>
                    <a:pt x="87488" y="801112"/>
                    <a:pt x="93369" y="796037"/>
                    <a:pt x="99495" y="792440"/>
                  </a:cubicBezTo>
                  <a:cubicBezTo>
                    <a:pt x="115052" y="783300"/>
                    <a:pt x="135829" y="787937"/>
                    <a:pt x="144177" y="802407"/>
                  </a:cubicBezTo>
                  <a:cubicBezTo>
                    <a:pt x="150110" y="812699"/>
                    <a:pt x="147304" y="831290"/>
                    <a:pt x="108696" y="1037461"/>
                  </a:cubicBezTo>
                  <a:cubicBezTo>
                    <a:pt x="85640" y="1160595"/>
                    <a:pt x="66752" y="1268852"/>
                    <a:pt x="66727" y="1278029"/>
                  </a:cubicBezTo>
                  <a:cubicBezTo>
                    <a:pt x="66565" y="1336017"/>
                    <a:pt x="103803" y="1397549"/>
                    <a:pt x="157779" y="1428521"/>
                  </a:cubicBezTo>
                  <a:cubicBezTo>
                    <a:pt x="223219" y="1466056"/>
                    <a:pt x="307223" y="1467813"/>
                    <a:pt x="373432" y="1433025"/>
                  </a:cubicBezTo>
                  <a:cubicBezTo>
                    <a:pt x="397754" y="1420229"/>
                    <a:pt x="435060" y="1384930"/>
                    <a:pt x="447691" y="1362766"/>
                  </a:cubicBezTo>
                  <a:cubicBezTo>
                    <a:pt x="453045" y="1353320"/>
                    <a:pt x="488328" y="1263172"/>
                    <a:pt x="526055" y="1162435"/>
                  </a:cubicBezTo>
                  <a:cubicBezTo>
                    <a:pt x="563782" y="1061698"/>
                    <a:pt x="597747" y="976195"/>
                    <a:pt x="601536" y="972425"/>
                  </a:cubicBezTo>
                  <a:cubicBezTo>
                    <a:pt x="614990" y="959064"/>
                    <a:pt x="624573" y="960003"/>
                    <a:pt x="666446" y="978776"/>
                  </a:cubicBezTo>
                  <a:cubicBezTo>
                    <a:pt x="753569" y="1017840"/>
                    <a:pt x="837232" y="1009836"/>
                    <a:pt x="907826" y="955684"/>
                  </a:cubicBezTo>
                  <a:lnTo>
                    <a:pt x="931467" y="937562"/>
                  </a:lnTo>
                  <a:lnTo>
                    <a:pt x="1134571" y="937562"/>
                  </a:lnTo>
                  <a:lnTo>
                    <a:pt x="1337675" y="937562"/>
                  </a:lnTo>
                  <a:lnTo>
                    <a:pt x="1361289" y="955684"/>
                  </a:lnTo>
                  <a:cubicBezTo>
                    <a:pt x="1431910" y="1009861"/>
                    <a:pt x="1516232" y="1017953"/>
                    <a:pt x="1602559" y="978845"/>
                  </a:cubicBezTo>
                  <a:cubicBezTo>
                    <a:pt x="1644378" y="959904"/>
                    <a:pt x="1654207" y="958935"/>
                    <a:pt x="1667387" y="972425"/>
                  </a:cubicBezTo>
                  <a:cubicBezTo>
                    <a:pt x="1671066" y="976195"/>
                    <a:pt x="1688529" y="1017231"/>
                    <a:pt x="1706212" y="1063615"/>
                  </a:cubicBezTo>
                  <a:cubicBezTo>
                    <a:pt x="1736003" y="1141869"/>
                    <a:pt x="1737926" y="1148843"/>
                    <a:pt x="1732626" y="1160288"/>
                  </a:cubicBezTo>
                  <a:cubicBezTo>
                    <a:pt x="1727244" y="1171952"/>
                    <a:pt x="1713625" y="1179901"/>
                    <a:pt x="1699018" y="1179901"/>
                  </a:cubicBezTo>
                  <a:cubicBezTo>
                    <a:pt x="1683779" y="1179901"/>
                    <a:pt x="1671505" y="1160197"/>
                    <a:pt x="1648935" y="1099494"/>
                  </a:cubicBezTo>
                  <a:lnTo>
                    <a:pt x="1625871" y="1037418"/>
                  </a:lnTo>
                  <a:lnTo>
                    <a:pt x="1597672" y="1046932"/>
                  </a:lnTo>
                  <a:cubicBezTo>
                    <a:pt x="1546299" y="1064274"/>
                    <a:pt x="1478533" y="1066575"/>
                    <a:pt x="1422684" y="1052876"/>
                  </a:cubicBezTo>
                  <a:cubicBezTo>
                    <a:pt x="1396188" y="1046380"/>
                    <a:pt x="1357884" y="1028738"/>
                    <a:pt x="1332459" y="1011344"/>
                  </a:cubicBezTo>
                  <a:lnTo>
                    <a:pt x="1311728" y="997154"/>
                  </a:lnTo>
                  <a:lnTo>
                    <a:pt x="1134571" y="997154"/>
                  </a:lnTo>
                  <a:lnTo>
                    <a:pt x="957387" y="997154"/>
                  </a:lnTo>
                  <a:lnTo>
                    <a:pt x="936656" y="1011344"/>
                  </a:lnTo>
                  <a:cubicBezTo>
                    <a:pt x="911231" y="1028738"/>
                    <a:pt x="872927" y="1046380"/>
                    <a:pt x="846431" y="1052876"/>
                  </a:cubicBezTo>
                  <a:cubicBezTo>
                    <a:pt x="790362" y="1066627"/>
                    <a:pt x="719878" y="1064145"/>
                    <a:pt x="671773" y="1046720"/>
                  </a:cubicBezTo>
                  <a:cubicBezTo>
                    <a:pt x="657248" y="1041462"/>
                    <a:pt x="644809" y="1037665"/>
                    <a:pt x="644095" y="1038282"/>
                  </a:cubicBezTo>
                  <a:cubicBezTo>
                    <a:pt x="643409" y="1038900"/>
                    <a:pt x="613755" y="1116158"/>
                    <a:pt x="578169" y="1209964"/>
                  </a:cubicBezTo>
                  <a:cubicBezTo>
                    <a:pt x="535885" y="1321538"/>
                    <a:pt x="508207" y="1388354"/>
                    <a:pt x="498158" y="1403178"/>
                  </a:cubicBezTo>
                  <a:cubicBezTo>
                    <a:pt x="463671" y="1454084"/>
                    <a:pt x="396532" y="1497852"/>
                    <a:pt x="332036" y="1511499"/>
                  </a:cubicBezTo>
                  <a:cubicBezTo>
                    <a:pt x="293681" y="1519598"/>
                    <a:pt x="239886" y="1518802"/>
                    <a:pt x="200506" y="1509549"/>
                  </a:cubicBezTo>
                  <a:close/>
                  <a:moveTo>
                    <a:pt x="1935044" y="1511306"/>
                  </a:moveTo>
                  <a:cubicBezTo>
                    <a:pt x="1872303" y="1497687"/>
                    <a:pt x="1804867" y="1453206"/>
                    <a:pt x="1770875" y="1403068"/>
                  </a:cubicBezTo>
                  <a:cubicBezTo>
                    <a:pt x="1749403" y="1371346"/>
                    <a:pt x="1709672" y="1266013"/>
                    <a:pt x="1714724" y="1254113"/>
                  </a:cubicBezTo>
                  <a:cubicBezTo>
                    <a:pt x="1723291" y="1233926"/>
                    <a:pt x="1752396" y="1227197"/>
                    <a:pt x="1767937" y="1241810"/>
                  </a:cubicBezTo>
                  <a:cubicBezTo>
                    <a:pt x="1772385" y="1245997"/>
                    <a:pt x="1783505" y="1269984"/>
                    <a:pt x="1792676" y="1295110"/>
                  </a:cubicBezTo>
                  <a:cubicBezTo>
                    <a:pt x="1814340" y="1354562"/>
                    <a:pt x="1826202" y="1375204"/>
                    <a:pt x="1853879" y="1401448"/>
                  </a:cubicBezTo>
                  <a:cubicBezTo>
                    <a:pt x="1893830" y="1439312"/>
                    <a:pt x="1942540" y="1457983"/>
                    <a:pt x="2001354" y="1457983"/>
                  </a:cubicBezTo>
                  <a:cubicBezTo>
                    <a:pt x="2110444" y="1457983"/>
                    <a:pt x="2202426" y="1375830"/>
                    <a:pt x="2202426" y="1278424"/>
                  </a:cubicBezTo>
                  <a:cubicBezTo>
                    <a:pt x="2202426" y="1253281"/>
                    <a:pt x="2043859" y="412901"/>
                    <a:pt x="2034523" y="388577"/>
                  </a:cubicBezTo>
                  <a:cubicBezTo>
                    <a:pt x="1999789" y="298022"/>
                    <a:pt x="1915632" y="222626"/>
                    <a:pt x="1816152" y="192908"/>
                  </a:cubicBezTo>
                  <a:cubicBezTo>
                    <a:pt x="1726091" y="165997"/>
                    <a:pt x="1638007" y="171225"/>
                    <a:pt x="1553300" y="208510"/>
                  </a:cubicBezTo>
                  <a:cubicBezTo>
                    <a:pt x="1531361" y="218164"/>
                    <a:pt x="1502174" y="234169"/>
                    <a:pt x="1488473" y="244075"/>
                  </a:cubicBezTo>
                  <a:lnTo>
                    <a:pt x="1463514" y="262088"/>
                  </a:lnTo>
                  <a:lnTo>
                    <a:pt x="1461592" y="298892"/>
                  </a:lnTo>
                  <a:cubicBezTo>
                    <a:pt x="1458791" y="352231"/>
                    <a:pt x="1438912" y="383310"/>
                    <a:pt x="1395007" y="402923"/>
                  </a:cubicBezTo>
                  <a:cubicBezTo>
                    <a:pt x="1372547" y="412957"/>
                    <a:pt x="1370213" y="413163"/>
                    <a:pt x="1278394" y="413163"/>
                  </a:cubicBezTo>
                  <a:cubicBezTo>
                    <a:pt x="1173204" y="413163"/>
                    <a:pt x="1170019" y="412322"/>
                    <a:pt x="1170019" y="384664"/>
                  </a:cubicBezTo>
                  <a:cubicBezTo>
                    <a:pt x="1170019" y="359777"/>
                    <a:pt x="1175236" y="358321"/>
                    <a:pt x="1269718" y="356861"/>
                  </a:cubicBezTo>
                  <a:cubicBezTo>
                    <a:pt x="1338774" y="355792"/>
                    <a:pt x="1356374" y="354343"/>
                    <a:pt x="1367687" y="348780"/>
                  </a:cubicBezTo>
                  <a:cubicBezTo>
                    <a:pt x="1384573" y="340501"/>
                    <a:pt x="1395996" y="320128"/>
                    <a:pt x="1395996" y="298346"/>
                  </a:cubicBezTo>
                  <a:lnTo>
                    <a:pt x="1395996" y="282063"/>
                  </a:lnTo>
                  <a:lnTo>
                    <a:pt x="1134571" y="282063"/>
                  </a:lnTo>
                  <a:lnTo>
                    <a:pt x="873120" y="282063"/>
                  </a:lnTo>
                  <a:lnTo>
                    <a:pt x="873120" y="298346"/>
                  </a:lnTo>
                  <a:cubicBezTo>
                    <a:pt x="873120" y="320128"/>
                    <a:pt x="884542" y="340501"/>
                    <a:pt x="901428" y="348780"/>
                  </a:cubicBezTo>
                  <a:cubicBezTo>
                    <a:pt x="912741" y="354343"/>
                    <a:pt x="930341" y="355792"/>
                    <a:pt x="999425" y="356861"/>
                  </a:cubicBezTo>
                  <a:cubicBezTo>
                    <a:pt x="1094401" y="358330"/>
                    <a:pt x="1099123" y="359675"/>
                    <a:pt x="1099123" y="385353"/>
                  </a:cubicBezTo>
                  <a:cubicBezTo>
                    <a:pt x="1099123" y="412146"/>
                    <a:pt x="1095115" y="413163"/>
                    <a:pt x="989952" y="413163"/>
                  </a:cubicBezTo>
                  <a:cubicBezTo>
                    <a:pt x="898957" y="413163"/>
                    <a:pt x="896541" y="412948"/>
                    <a:pt x="874108" y="402923"/>
                  </a:cubicBezTo>
                  <a:cubicBezTo>
                    <a:pt x="830203" y="383310"/>
                    <a:pt x="810324" y="352231"/>
                    <a:pt x="807523" y="298892"/>
                  </a:cubicBezTo>
                  <a:lnTo>
                    <a:pt x="805601" y="262088"/>
                  </a:lnTo>
                  <a:lnTo>
                    <a:pt x="780642" y="244075"/>
                  </a:lnTo>
                  <a:cubicBezTo>
                    <a:pt x="766941" y="234169"/>
                    <a:pt x="737753" y="218164"/>
                    <a:pt x="715815" y="208510"/>
                  </a:cubicBezTo>
                  <a:cubicBezTo>
                    <a:pt x="631108" y="171225"/>
                    <a:pt x="543024" y="165997"/>
                    <a:pt x="452963" y="192908"/>
                  </a:cubicBezTo>
                  <a:cubicBezTo>
                    <a:pt x="355062" y="222151"/>
                    <a:pt x="267700" y="300207"/>
                    <a:pt x="235015" y="387635"/>
                  </a:cubicBezTo>
                  <a:cubicBezTo>
                    <a:pt x="230053" y="400905"/>
                    <a:pt x="213375" y="479129"/>
                    <a:pt x="197958" y="561464"/>
                  </a:cubicBezTo>
                  <a:cubicBezTo>
                    <a:pt x="176706" y="674933"/>
                    <a:pt x="167985" y="713080"/>
                    <a:pt x="161922" y="719084"/>
                  </a:cubicBezTo>
                  <a:cubicBezTo>
                    <a:pt x="144366" y="736479"/>
                    <a:pt x="106557" y="723939"/>
                    <a:pt x="106557" y="700721"/>
                  </a:cubicBezTo>
                  <a:cubicBezTo>
                    <a:pt x="106557" y="680454"/>
                    <a:pt x="160179" y="404752"/>
                    <a:pt x="169251" y="378376"/>
                  </a:cubicBezTo>
                  <a:cubicBezTo>
                    <a:pt x="202112" y="282824"/>
                    <a:pt x="281075" y="200341"/>
                    <a:pt x="384604" y="153424"/>
                  </a:cubicBezTo>
                  <a:lnTo>
                    <a:pt x="407869" y="142883"/>
                  </a:lnTo>
                  <a:lnTo>
                    <a:pt x="407894" y="110176"/>
                  </a:lnTo>
                  <a:cubicBezTo>
                    <a:pt x="407927" y="68097"/>
                    <a:pt x="413509" y="50900"/>
                    <a:pt x="433632" y="30878"/>
                  </a:cubicBezTo>
                  <a:cubicBezTo>
                    <a:pt x="461886" y="2780"/>
                    <a:pt x="473364" y="186"/>
                    <a:pt x="569905" y="87"/>
                  </a:cubicBezTo>
                  <a:cubicBezTo>
                    <a:pt x="653404" y="2"/>
                    <a:pt x="654694" y="131"/>
                    <a:pt x="678445" y="10924"/>
                  </a:cubicBezTo>
                  <a:cubicBezTo>
                    <a:pt x="694178" y="18072"/>
                    <a:pt x="707083" y="27800"/>
                    <a:pt x="715787" y="39058"/>
                  </a:cubicBezTo>
                  <a:cubicBezTo>
                    <a:pt x="728390" y="55321"/>
                    <a:pt x="729186" y="58747"/>
                    <a:pt x="730587" y="101288"/>
                  </a:cubicBezTo>
                  <a:lnTo>
                    <a:pt x="732070" y="146304"/>
                  </a:lnTo>
                  <a:lnTo>
                    <a:pt x="766639" y="164303"/>
                  </a:lnTo>
                  <a:cubicBezTo>
                    <a:pt x="785639" y="174201"/>
                    <a:pt x="813289" y="191340"/>
                    <a:pt x="828089" y="202387"/>
                  </a:cubicBezTo>
                  <a:lnTo>
                    <a:pt x="855025" y="222472"/>
                  </a:lnTo>
                  <a:lnTo>
                    <a:pt x="1134571" y="222472"/>
                  </a:lnTo>
                  <a:lnTo>
                    <a:pt x="1414090" y="222472"/>
                  </a:lnTo>
                  <a:lnTo>
                    <a:pt x="1440779" y="202568"/>
                  </a:lnTo>
                  <a:cubicBezTo>
                    <a:pt x="1455441" y="191620"/>
                    <a:pt x="1483119" y="174569"/>
                    <a:pt x="1502229" y="164673"/>
                  </a:cubicBezTo>
                  <a:lnTo>
                    <a:pt x="1537018" y="146683"/>
                  </a:lnTo>
                  <a:lnTo>
                    <a:pt x="1538501" y="101477"/>
                  </a:lnTo>
                  <a:cubicBezTo>
                    <a:pt x="1539929" y="58728"/>
                    <a:pt x="1540725" y="55332"/>
                    <a:pt x="1553328" y="39058"/>
                  </a:cubicBezTo>
                  <a:cubicBezTo>
                    <a:pt x="1562032" y="27800"/>
                    <a:pt x="1574937" y="18072"/>
                    <a:pt x="1590670" y="10924"/>
                  </a:cubicBezTo>
                  <a:cubicBezTo>
                    <a:pt x="1614421" y="128"/>
                    <a:pt x="1615712" y="-1"/>
                    <a:pt x="1699210" y="87"/>
                  </a:cubicBezTo>
                  <a:cubicBezTo>
                    <a:pt x="1795752" y="186"/>
                    <a:pt x="1807229" y="2780"/>
                    <a:pt x="1835482" y="30878"/>
                  </a:cubicBezTo>
                  <a:cubicBezTo>
                    <a:pt x="1855609" y="50900"/>
                    <a:pt x="1861183" y="68097"/>
                    <a:pt x="1861210" y="110176"/>
                  </a:cubicBezTo>
                  <a:lnTo>
                    <a:pt x="1861238" y="142883"/>
                  </a:lnTo>
                  <a:lnTo>
                    <a:pt x="1884522" y="153424"/>
                  </a:lnTo>
                  <a:cubicBezTo>
                    <a:pt x="1945011" y="180846"/>
                    <a:pt x="2003139" y="225036"/>
                    <a:pt x="2041003" y="272415"/>
                  </a:cubicBezTo>
                  <a:cubicBezTo>
                    <a:pt x="2067472" y="305512"/>
                    <a:pt x="2094298" y="357215"/>
                    <a:pt x="2104787" y="395285"/>
                  </a:cubicBezTo>
                  <a:cubicBezTo>
                    <a:pt x="2118406" y="444708"/>
                    <a:pt x="2268902" y="1256579"/>
                    <a:pt x="2268819" y="1280132"/>
                  </a:cubicBezTo>
                  <a:cubicBezTo>
                    <a:pt x="2268709" y="1312521"/>
                    <a:pt x="2257479" y="1352692"/>
                    <a:pt x="2239247" y="1385970"/>
                  </a:cubicBezTo>
                  <a:cubicBezTo>
                    <a:pt x="2218571" y="1423661"/>
                    <a:pt x="2168983" y="1469763"/>
                    <a:pt x="2128510" y="1488928"/>
                  </a:cubicBezTo>
                  <a:cubicBezTo>
                    <a:pt x="2072442" y="1515452"/>
                    <a:pt x="1995286" y="1524376"/>
                    <a:pt x="1935044" y="1511306"/>
                  </a:cubicBezTo>
                  <a:close/>
                  <a:moveTo>
                    <a:pt x="664881" y="101301"/>
                  </a:moveTo>
                  <a:cubicBezTo>
                    <a:pt x="664881" y="60183"/>
                    <a:pt x="663535" y="59588"/>
                    <a:pt x="571003" y="59588"/>
                  </a:cubicBezTo>
                  <a:cubicBezTo>
                    <a:pt x="498899" y="59588"/>
                    <a:pt x="494286" y="60049"/>
                    <a:pt x="484594" y="68226"/>
                  </a:cubicBezTo>
                  <a:cubicBezTo>
                    <a:pt x="476109" y="75365"/>
                    <a:pt x="474325" y="80939"/>
                    <a:pt x="474325" y="100324"/>
                  </a:cubicBezTo>
                  <a:lnTo>
                    <a:pt x="474325" y="123786"/>
                  </a:lnTo>
                  <a:lnTo>
                    <a:pt x="504253" y="120489"/>
                  </a:lnTo>
                  <a:cubicBezTo>
                    <a:pt x="541541" y="116378"/>
                    <a:pt x="612546" y="117474"/>
                    <a:pt x="636078" y="122523"/>
                  </a:cubicBezTo>
                  <a:cubicBezTo>
                    <a:pt x="665622" y="128866"/>
                    <a:pt x="664881" y="129415"/>
                    <a:pt x="664881" y="101304"/>
                  </a:cubicBezTo>
                  <a:close/>
                  <a:moveTo>
                    <a:pt x="1665520" y="118715"/>
                  </a:moveTo>
                  <a:cubicBezTo>
                    <a:pt x="1696080" y="115414"/>
                    <a:pt x="1716975" y="115412"/>
                    <a:pt x="1745586" y="118701"/>
                  </a:cubicBezTo>
                  <a:cubicBezTo>
                    <a:pt x="1766893" y="121150"/>
                    <a:pt x="1786663" y="123152"/>
                    <a:pt x="1789546" y="123152"/>
                  </a:cubicBezTo>
                  <a:cubicBezTo>
                    <a:pt x="1799101" y="123152"/>
                    <a:pt x="1796053" y="81957"/>
                    <a:pt x="1785592" y="70057"/>
                  </a:cubicBezTo>
                  <a:lnTo>
                    <a:pt x="1776421" y="59588"/>
                  </a:lnTo>
                  <a:lnTo>
                    <a:pt x="1699183" y="59588"/>
                  </a:lnTo>
                  <a:cubicBezTo>
                    <a:pt x="1605278" y="59588"/>
                    <a:pt x="1604262" y="60043"/>
                    <a:pt x="1604262" y="101765"/>
                  </a:cubicBezTo>
                  <a:cubicBezTo>
                    <a:pt x="1604262" y="127098"/>
                    <a:pt x="1604618" y="127963"/>
                    <a:pt x="1614229" y="125615"/>
                  </a:cubicBezTo>
                  <a:cubicBezTo>
                    <a:pt x="1619693" y="124275"/>
                    <a:pt x="1642785" y="121170"/>
                    <a:pt x="1665520" y="118715"/>
                  </a:cubicBezTo>
                  <a:close/>
                  <a:moveTo>
                    <a:pt x="737561" y="935154"/>
                  </a:moveTo>
                  <a:cubicBezTo>
                    <a:pt x="701839" y="925327"/>
                    <a:pt x="673997" y="903896"/>
                    <a:pt x="656122" y="872482"/>
                  </a:cubicBezTo>
                  <a:cubicBezTo>
                    <a:pt x="642750" y="848954"/>
                    <a:pt x="640773" y="841746"/>
                    <a:pt x="640883" y="817012"/>
                  </a:cubicBezTo>
                  <a:cubicBezTo>
                    <a:pt x="641185" y="750891"/>
                    <a:pt x="694727" y="700411"/>
                    <a:pt x="769000" y="696201"/>
                  </a:cubicBezTo>
                  <a:cubicBezTo>
                    <a:pt x="846156" y="691827"/>
                    <a:pt x="907112" y="739749"/>
                    <a:pt x="912054" y="808662"/>
                  </a:cubicBezTo>
                  <a:cubicBezTo>
                    <a:pt x="914828" y="847249"/>
                    <a:pt x="905437" y="871724"/>
                    <a:pt x="877266" y="899344"/>
                  </a:cubicBezTo>
                  <a:cubicBezTo>
                    <a:pt x="841214" y="934709"/>
                    <a:pt x="786710" y="948683"/>
                    <a:pt x="737561" y="935154"/>
                  </a:cubicBezTo>
                  <a:close/>
                  <a:moveTo>
                    <a:pt x="814937" y="871093"/>
                  </a:moveTo>
                  <a:cubicBezTo>
                    <a:pt x="834899" y="857831"/>
                    <a:pt x="846540" y="838786"/>
                    <a:pt x="846540" y="819387"/>
                  </a:cubicBezTo>
                  <a:cubicBezTo>
                    <a:pt x="846540" y="782597"/>
                    <a:pt x="822378" y="758626"/>
                    <a:pt x="782317" y="755647"/>
                  </a:cubicBezTo>
                  <a:cubicBezTo>
                    <a:pt x="743053" y="752728"/>
                    <a:pt x="711806" y="775494"/>
                    <a:pt x="706616" y="810796"/>
                  </a:cubicBezTo>
                  <a:cubicBezTo>
                    <a:pt x="699203" y="861249"/>
                    <a:pt x="770208" y="900780"/>
                    <a:pt x="814937" y="871093"/>
                  </a:cubicBezTo>
                  <a:close/>
                  <a:moveTo>
                    <a:pt x="1461290" y="937214"/>
                  </a:moveTo>
                  <a:cubicBezTo>
                    <a:pt x="1433612" y="931370"/>
                    <a:pt x="1411591" y="919182"/>
                    <a:pt x="1390257" y="897916"/>
                  </a:cubicBezTo>
                  <a:cubicBezTo>
                    <a:pt x="1363678" y="871414"/>
                    <a:pt x="1354370" y="846348"/>
                    <a:pt x="1357061" y="808662"/>
                  </a:cubicBezTo>
                  <a:cubicBezTo>
                    <a:pt x="1366204" y="680979"/>
                    <a:pt x="1559835" y="652549"/>
                    <a:pt x="1618897" y="770222"/>
                  </a:cubicBezTo>
                  <a:cubicBezTo>
                    <a:pt x="1625404" y="783179"/>
                    <a:pt x="1628150" y="796957"/>
                    <a:pt x="1628232" y="817012"/>
                  </a:cubicBezTo>
                  <a:cubicBezTo>
                    <a:pt x="1628342" y="841746"/>
                    <a:pt x="1626365" y="848954"/>
                    <a:pt x="1612993" y="872482"/>
                  </a:cubicBezTo>
                  <a:cubicBezTo>
                    <a:pt x="1583641" y="924053"/>
                    <a:pt x="1522493" y="950146"/>
                    <a:pt x="1461290" y="937214"/>
                  </a:cubicBezTo>
                  <a:close/>
                  <a:moveTo>
                    <a:pt x="1524662" y="872798"/>
                  </a:moveTo>
                  <a:cubicBezTo>
                    <a:pt x="1563542" y="854360"/>
                    <a:pt x="1574800" y="810779"/>
                    <a:pt x="1548633" y="780005"/>
                  </a:cubicBezTo>
                  <a:cubicBezTo>
                    <a:pt x="1534080" y="762915"/>
                    <a:pt x="1516287" y="754818"/>
                    <a:pt x="1493250" y="754818"/>
                  </a:cubicBezTo>
                  <a:cubicBezTo>
                    <a:pt x="1455524" y="754818"/>
                    <a:pt x="1427709" y="776293"/>
                    <a:pt x="1423645" y="808577"/>
                  </a:cubicBezTo>
                  <a:cubicBezTo>
                    <a:pt x="1420817" y="831175"/>
                    <a:pt x="1424387" y="842792"/>
                    <a:pt x="1438967" y="858328"/>
                  </a:cubicBezTo>
                  <a:cubicBezTo>
                    <a:pt x="1461894" y="882757"/>
                    <a:pt x="1492701" y="887957"/>
                    <a:pt x="1524662" y="872798"/>
                  </a:cubicBezTo>
                  <a:close/>
                  <a:moveTo>
                    <a:pt x="1686086" y="721446"/>
                  </a:moveTo>
                  <a:cubicBezTo>
                    <a:pt x="1667881" y="714345"/>
                    <a:pt x="1644295" y="692580"/>
                    <a:pt x="1636277" y="675482"/>
                  </a:cubicBezTo>
                  <a:cubicBezTo>
                    <a:pt x="1627820" y="657514"/>
                    <a:pt x="1627820" y="625674"/>
                    <a:pt x="1636277" y="607705"/>
                  </a:cubicBezTo>
                  <a:cubicBezTo>
                    <a:pt x="1644542" y="590132"/>
                    <a:pt x="1668183" y="568639"/>
                    <a:pt x="1687047" y="561571"/>
                  </a:cubicBezTo>
                  <a:cubicBezTo>
                    <a:pt x="1694982" y="558608"/>
                    <a:pt x="1711539" y="556181"/>
                    <a:pt x="1723895" y="556181"/>
                  </a:cubicBezTo>
                  <a:cubicBezTo>
                    <a:pt x="1826943" y="556181"/>
                    <a:pt x="1859069" y="677088"/>
                    <a:pt x="1767278" y="719428"/>
                  </a:cubicBezTo>
                  <a:cubicBezTo>
                    <a:pt x="1747893" y="728365"/>
                    <a:pt x="1706432" y="729398"/>
                    <a:pt x="1686086" y="721446"/>
                  </a:cubicBezTo>
                  <a:close/>
                  <a:moveTo>
                    <a:pt x="1746794" y="660841"/>
                  </a:moveTo>
                  <a:cubicBezTo>
                    <a:pt x="1756899" y="652651"/>
                    <a:pt x="1757311" y="632681"/>
                    <a:pt x="1747563" y="623038"/>
                  </a:cubicBezTo>
                  <a:cubicBezTo>
                    <a:pt x="1736360" y="611920"/>
                    <a:pt x="1713186" y="613551"/>
                    <a:pt x="1702066" y="626239"/>
                  </a:cubicBezTo>
                  <a:cubicBezTo>
                    <a:pt x="1697014" y="631997"/>
                    <a:pt x="1692867" y="638905"/>
                    <a:pt x="1692867" y="641594"/>
                  </a:cubicBezTo>
                  <a:cubicBezTo>
                    <a:pt x="1692867" y="644282"/>
                    <a:pt x="1697014" y="651193"/>
                    <a:pt x="1702066" y="656951"/>
                  </a:cubicBezTo>
                  <a:cubicBezTo>
                    <a:pt x="1712829" y="669238"/>
                    <a:pt x="1734164" y="671094"/>
                    <a:pt x="1746794" y="660841"/>
                  </a:cubicBezTo>
                  <a:close/>
                  <a:moveTo>
                    <a:pt x="525286" y="679817"/>
                  </a:moveTo>
                  <a:cubicBezTo>
                    <a:pt x="492886" y="666492"/>
                    <a:pt x="469629" y="638466"/>
                    <a:pt x="463479" y="605322"/>
                  </a:cubicBezTo>
                  <a:cubicBezTo>
                    <a:pt x="460513" y="589262"/>
                    <a:pt x="459992" y="588861"/>
                    <a:pt x="439398" y="586412"/>
                  </a:cubicBezTo>
                  <a:cubicBezTo>
                    <a:pt x="400447" y="581780"/>
                    <a:pt x="365708" y="553117"/>
                    <a:pt x="354725" y="516541"/>
                  </a:cubicBezTo>
                  <a:cubicBezTo>
                    <a:pt x="339384" y="465461"/>
                    <a:pt x="380941" y="411713"/>
                    <a:pt x="442611" y="402871"/>
                  </a:cubicBezTo>
                  <a:cubicBezTo>
                    <a:pt x="459415" y="400460"/>
                    <a:pt x="460623" y="399373"/>
                    <a:pt x="463479" y="383895"/>
                  </a:cubicBezTo>
                  <a:cubicBezTo>
                    <a:pt x="472924" y="333082"/>
                    <a:pt x="524847" y="296706"/>
                    <a:pt x="578554" y="303304"/>
                  </a:cubicBezTo>
                  <a:cubicBezTo>
                    <a:pt x="601975" y="306185"/>
                    <a:pt x="627758" y="317289"/>
                    <a:pt x="641322" y="330342"/>
                  </a:cubicBezTo>
                  <a:cubicBezTo>
                    <a:pt x="654694" y="343189"/>
                    <a:pt x="669082" y="372882"/>
                    <a:pt x="669192" y="387822"/>
                  </a:cubicBezTo>
                  <a:cubicBezTo>
                    <a:pt x="669274" y="399623"/>
                    <a:pt x="670317" y="400342"/>
                    <a:pt x="690663" y="402761"/>
                  </a:cubicBezTo>
                  <a:cubicBezTo>
                    <a:pt x="718066" y="406018"/>
                    <a:pt x="749642" y="424003"/>
                    <a:pt x="765348" y="445285"/>
                  </a:cubicBezTo>
                  <a:cubicBezTo>
                    <a:pt x="780423" y="465694"/>
                    <a:pt x="784898" y="506370"/>
                    <a:pt x="774546" y="528531"/>
                  </a:cubicBezTo>
                  <a:cubicBezTo>
                    <a:pt x="759747" y="560228"/>
                    <a:pt x="717517" y="587831"/>
                    <a:pt x="683689" y="587925"/>
                  </a:cubicBezTo>
                  <a:cubicBezTo>
                    <a:pt x="671114" y="587961"/>
                    <a:pt x="669301" y="589279"/>
                    <a:pt x="669301" y="598427"/>
                  </a:cubicBezTo>
                  <a:cubicBezTo>
                    <a:pt x="669301" y="632288"/>
                    <a:pt x="635831" y="672912"/>
                    <a:pt x="600108" y="682426"/>
                  </a:cubicBezTo>
                  <a:cubicBezTo>
                    <a:pt x="574298" y="689296"/>
                    <a:pt x="545934" y="688307"/>
                    <a:pt x="525286" y="679817"/>
                  </a:cubicBezTo>
                  <a:close/>
                  <a:moveTo>
                    <a:pt x="590114" y="620135"/>
                  </a:moveTo>
                  <a:cubicBezTo>
                    <a:pt x="599147" y="613578"/>
                    <a:pt x="600850" y="607980"/>
                    <a:pt x="603074" y="577851"/>
                  </a:cubicBezTo>
                  <a:cubicBezTo>
                    <a:pt x="606423" y="532946"/>
                    <a:pt x="611585" y="528372"/>
                    <a:pt x="658922" y="528372"/>
                  </a:cubicBezTo>
                  <a:cubicBezTo>
                    <a:pt x="687973" y="528372"/>
                    <a:pt x="693135" y="527224"/>
                    <a:pt x="702745" y="518619"/>
                  </a:cubicBezTo>
                  <a:cubicBezTo>
                    <a:pt x="716034" y="506702"/>
                    <a:pt x="717242" y="485599"/>
                    <a:pt x="705381" y="472471"/>
                  </a:cubicBezTo>
                  <a:cubicBezTo>
                    <a:pt x="698324" y="464662"/>
                    <a:pt x="691734" y="463042"/>
                    <a:pt x="659005" y="461093"/>
                  </a:cubicBezTo>
                  <a:cubicBezTo>
                    <a:pt x="609197" y="458130"/>
                    <a:pt x="606368" y="455573"/>
                    <a:pt x="603046" y="410884"/>
                  </a:cubicBezTo>
                  <a:cubicBezTo>
                    <a:pt x="600850" y="381232"/>
                    <a:pt x="599120" y="375611"/>
                    <a:pt x="590114" y="369074"/>
                  </a:cubicBezTo>
                  <a:cubicBezTo>
                    <a:pt x="575973" y="358807"/>
                    <a:pt x="557109" y="359576"/>
                    <a:pt x="542255" y="371020"/>
                  </a:cubicBezTo>
                  <a:cubicBezTo>
                    <a:pt x="531080" y="379637"/>
                    <a:pt x="529789" y="383431"/>
                    <a:pt x="528279" y="411740"/>
                  </a:cubicBezTo>
                  <a:cubicBezTo>
                    <a:pt x="525972" y="455052"/>
                    <a:pt x="519740" y="460834"/>
                    <a:pt x="475423" y="460834"/>
                  </a:cubicBezTo>
                  <a:cubicBezTo>
                    <a:pt x="445082" y="460834"/>
                    <a:pt x="441677" y="461705"/>
                    <a:pt x="429679" y="472449"/>
                  </a:cubicBezTo>
                  <a:cubicBezTo>
                    <a:pt x="412877" y="487515"/>
                    <a:pt x="412877" y="501691"/>
                    <a:pt x="429679" y="516760"/>
                  </a:cubicBezTo>
                  <a:cubicBezTo>
                    <a:pt x="441513" y="527364"/>
                    <a:pt x="445302" y="528372"/>
                    <a:pt x="473391" y="528372"/>
                  </a:cubicBezTo>
                  <a:cubicBezTo>
                    <a:pt x="518806" y="528372"/>
                    <a:pt x="526082" y="534665"/>
                    <a:pt x="528169" y="575698"/>
                  </a:cubicBezTo>
                  <a:cubicBezTo>
                    <a:pt x="529515" y="602445"/>
                    <a:pt x="531382" y="608771"/>
                    <a:pt x="540470" y="617456"/>
                  </a:cubicBezTo>
                  <a:cubicBezTo>
                    <a:pt x="553513" y="629899"/>
                    <a:pt x="575067" y="631061"/>
                    <a:pt x="590114" y="620135"/>
                  </a:cubicBezTo>
                  <a:close/>
                  <a:moveTo>
                    <a:pt x="923257" y="607953"/>
                  </a:moveTo>
                  <a:cubicBezTo>
                    <a:pt x="903378" y="600451"/>
                    <a:pt x="898024" y="575487"/>
                    <a:pt x="913180" y="560904"/>
                  </a:cubicBezTo>
                  <a:cubicBezTo>
                    <a:pt x="921665" y="552732"/>
                    <a:pt x="926085" y="552208"/>
                    <a:pt x="986300" y="552208"/>
                  </a:cubicBezTo>
                  <a:cubicBezTo>
                    <a:pt x="1044455" y="552208"/>
                    <a:pt x="1051182" y="552941"/>
                    <a:pt x="1059227" y="560154"/>
                  </a:cubicBezTo>
                  <a:cubicBezTo>
                    <a:pt x="1070430" y="570190"/>
                    <a:pt x="1070595" y="588271"/>
                    <a:pt x="1059639" y="600435"/>
                  </a:cubicBezTo>
                  <a:cubicBezTo>
                    <a:pt x="1051594" y="609350"/>
                    <a:pt x="1048244" y="609858"/>
                    <a:pt x="992066" y="610709"/>
                  </a:cubicBezTo>
                  <a:cubicBezTo>
                    <a:pt x="959556" y="611201"/>
                    <a:pt x="928584" y="609960"/>
                    <a:pt x="923257" y="607953"/>
                  </a:cubicBezTo>
                  <a:close/>
                  <a:moveTo>
                    <a:pt x="1220157" y="607953"/>
                  </a:moveTo>
                  <a:cubicBezTo>
                    <a:pt x="1200332" y="600484"/>
                    <a:pt x="1194621" y="573836"/>
                    <a:pt x="1209888" y="560154"/>
                  </a:cubicBezTo>
                  <a:cubicBezTo>
                    <a:pt x="1217933" y="552941"/>
                    <a:pt x="1224660" y="552208"/>
                    <a:pt x="1282815" y="552208"/>
                  </a:cubicBezTo>
                  <a:cubicBezTo>
                    <a:pt x="1343030" y="552208"/>
                    <a:pt x="1347450" y="552732"/>
                    <a:pt x="1355935" y="560904"/>
                  </a:cubicBezTo>
                  <a:cubicBezTo>
                    <a:pt x="1367275" y="571816"/>
                    <a:pt x="1367522" y="588238"/>
                    <a:pt x="1356511" y="600435"/>
                  </a:cubicBezTo>
                  <a:cubicBezTo>
                    <a:pt x="1348466" y="609350"/>
                    <a:pt x="1345117" y="609858"/>
                    <a:pt x="1288938" y="610709"/>
                  </a:cubicBezTo>
                  <a:cubicBezTo>
                    <a:pt x="1256428" y="611201"/>
                    <a:pt x="1225483" y="609960"/>
                    <a:pt x="1220157" y="607953"/>
                  </a:cubicBezTo>
                  <a:close/>
                  <a:moveTo>
                    <a:pt x="1522136" y="574454"/>
                  </a:moveTo>
                  <a:cubicBezTo>
                    <a:pt x="1504343" y="567513"/>
                    <a:pt x="1480400" y="545684"/>
                    <a:pt x="1472904" y="529613"/>
                  </a:cubicBezTo>
                  <a:cubicBezTo>
                    <a:pt x="1465985" y="514783"/>
                    <a:pt x="1464942" y="477861"/>
                    <a:pt x="1471010" y="463523"/>
                  </a:cubicBezTo>
                  <a:cubicBezTo>
                    <a:pt x="1477737" y="447655"/>
                    <a:pt x="1503163" y="424365"/>
                    <a:pt x="1522246" y="416597"/>
                  </a:cubicBezTo>
                  <a:cubicBezTo>
                    <a:pt x="1531993" y="412619"/>
                    <a:pt x="1549539" y="409324"/>
                    <a:pt x="1561180" y="409277"/>
                  </a:cubicBezTo>
                  <a:cubicBezTo>
                    <a:pt x="1662966" y="408857"/>
                    <a:pt x="1694378" y="530442"/>
                    <a:pt x="1603328" y="572436"/>
                  </a:cubicBezTo>
                  <a:cubicBezTo>
                    <a:pt x="1583943" y="581373"/>
                    <a:pt x="1542482" y="582406"/>
                    <a:pt x="1522136" y="574454"/>
                  </a:cubicBezTo>
                  <a:close/>
                  <a:moveTo>
                    <a:pt x="1583202" y="513248"/>
                  </a:moveTo>
                  <a:cubicBezTo>
                    <a:pt x="1593004" y="505703"/>
                    <a:pt x="1593224" y="485560"/>
                    <a:pt x="1583613" y="476046"/>
                  </a:cubicBezTo>
                  <a:cubicBezTo>
                    <a:pt x="1579440" y="471900"/>
                    <a:pt x="1570214" y="468781"/>
                    <a:pt x="1562142" y="468781"/>
                  </a:cubicBezTo>
                  <a:cubicBezTo>
                    <a:pt x="1528012" y="468781"/>
                    <a:pt x="1520873" y="509594"/>
                    <a:pt x="1553135" y="520349"/>
                  </a:cubicBezTo>
                  <a:cubicBezTo>
                    <a:pt x="1563487" y="523800"/>
                    <a:pt x="1572164" y="521755"/>
                    <a:pt x="1583202" y="513248"/>
                  </a:cubicBezTo>
                  <a:close/>
                  <a:moveTo>
                    <a:pt x="1844159" y="571442"/>
                  </a:moveTo>
                  <a:cubicBezTo>
                    <a:pt x="1820573" y="560972"/>
                    <a:pt x="1801792" y="538649"/>
                    <a:pt x="1794900" y="512886"/>
                  </a:cubicBezTo>
                  <a:cubicBezTo>
                    <a:pt x="1781116" y="461386"/>
                    <a:pt x="1827712" y="409189"/>
                    <a:pt x="1887460" y="409189"/>
                  </a:cubicBezTo>
                  <a:cubicBezTo>
                    <a:pt x="1990865" y="409189"/>
                    <a:pt x="2023238" y="529997"/>
                    <a:pt x="1931227" y="572436"/>
                  </a:cubicBezTo>
                  <a:cubicBezTo>
                    <a:pt x="1908273" y="583013"/>
                    <a:pt x="1869228" y="582565"/>
                    <a:pt x="1844159" y="571442"/>
                  </a:cubicBezTo>
                  <a:close/>
                  <a:moveTo>
                    <a:pt x="1911101" y="513248"/>
                  </a:moveTo>
                  <a:cubicBezTo>
                    <a:pt x="1920766" y="505799"/>
                    <a:pt x="1921095" y="489300"/>
                    <a:pt x="1911787" y="477394"/>
                  </a:cubicBezTo>
                  <a:cubicBezTo>
                    <a:pt x="1901793" y="464585"/>
                    <a:pt x="1876559" y="466738"/>
                    <a:pt x="1864368" y="481439"/>
                  </a:cubicBezTo>
                  <a:cubicBezTo>
                    <a:pt x="1856625" y="490774"/>
                    <a:pt x="1856213" y="493613"/>
                    <a:pt x="1861046" y="504086"/>
                  </a:cubicBezTo>
                  <a:cubicBezTo>
                    <a:pt x="1869805" y="523037"/>
                    <a:pt x="1892897" y="527265"/>
                    <a:pt x="1911101" y="513248"/>
                  </a:cubicBezTo>
                  <a:close/>
                  <a:moveTo>
                    <a:pt x="1706157" y="432278"/>
                  </a:moveTo>
                  <a:cubicBezTo>
                    <a:pt x="1662307" y="425381"/>
                    <a:pt x="1629440" y="389318"/>
                    <a:pt x="1629907" y="348631"/>
                  </a:cubicBezTo>
                  <a:cubicBezTo>
                    <a:pt x="1630209" y="322593"/>
                    <a:pt x="1635151" y="310820"/>
                    <a:pt x="1653768" y="291811"/>
                  </a:cubicBezTo>
                  <a:cubicBezTo>
                    <a:pt x="1711786" y="232551"/>
                    <a:pt x="1820875" y="268323"/>
                    <a:pt x="1821259" y="346748"/>
                  </a:cubicBezTo>
                  <a:cubicBezTo>
                    <a:pt x="1821561" y="402641"/>
                    <a:pt x="1768486" y="442084"/>
                    <a:pt x="1706157" y="432278"/>
                  </a:cubicBezTo>
                  <a:close/>
                  <a:moveTo>
                    <a:pt x="1747151" y="366391"/>
                  </a:moveTo>
                  <a:cubicBezTo>
                    <a:pt x="1756954" y="358678"/>
                    <a:pt x="1757173" y="338565"/>
                    <a:pt x="1747563" y="329054"/>
                  </a:cubicBezTo>
                  <a:cubicBezTo>
                    <a:pt x="1726311" y="308005"/>
                    <a:pt x="1684740" y="333230"/>
                    <a:pt x="1697920" y="359172"/>
                  </a:cubicBezTo>
                  <a:cubicBezTo>
                    <a:pt x="1706953" y="376951"/>
                    <a:pt x="1729524" y="380263"/>
                    <a:pt x="1747151" y="366391"/>
                  </a:cubicBezTo>
                  <a:close/>
                </a:path>
              </a:pathLst>
            </a:custGeom>
            <a:solidFill>
              <a:schemeClr val="bg1"/>
            </a:solidFill>
            <a:ln w="4188" cap="flat">
              <a:noFill/>
              <a:prstDash val="solid"/>
              <a:miter/>
            </a:ln>
          </p:spPr>
          <p:txBody>
            <a:bodyPr rtlCol="0" anchor="ctr"/>
            <a:lstStyle/>
            <a:p>
              <a:endParaRPr lang="en-IN"/>
            </a:p>
          </p:txBody>
        </p:sp>
      </p:grpSp>
    </p:spTree>
    <p:extLst>
      <p:ext uri="{BB962C8B-B14F-4D97-AF65-F5344CB8AC3E}">
        <p14:creationId xmlns:p14="http://schemas.microsoft.com/office/powerpoint/2010/main" val="13150395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8D091-218A-9B49-B6B6-1482446BDAED}"/>
              </a:ext>
            </a:extLst>
          </p:cNvPr>
          <p:cNvSpPr>
            <a:spLocks noGrp="1"/>
          </p:cNvSpPr>
          <p:nvPr>
            <p:ph type="title"/>
          </p:nvPr>
        </p:nvSpPr>
        <p:spPr>
          <a:xfrm>
            <a:off x="417513" y="227576"/>
            <a:ext cx="8051784" cy="460800"/>
          </a:xfrm>
        </p:spPr>
        <p:txBody>
          <a:bodyPr/>
          <a:lstStyle/>
          <a:p>
            <a:r>
              <a:rPr lang="en-GB" sz="2400" dirty="0"/>
              <a:t>What are the chances your business will survive?</a:t>
            </a:r>
          </a:p>
        </p:txBody>
      </p:sp>
      <p:sp>
        <p:nvSpPr>
          <p:cNvPr id="3" name="Slide Number Placeholder 2">
            <a:extLst>
              <a:ext uri="{FF2B5EF4-FFF2-40B4-BE49-F238E27FC236}">
                <a16:creationId xmlns:a16="http://schemas.microsoft.com/office/drawing/2014/main" id="{65A9BBBC-F954-E54D-9D73-7D2BC3054F9C}"/>
              </a:ext>
            </a:extLst>
          </p:cNvPr>
          <p:cNvSpPr>
            <a:spLocks noGrp="1"/>
          </p:cNvSpPr>
          <p:nvPr>
            <p:ph type="sldNum" sz="quarter" idx="10"/>
          </p:nvPr>
        </p:nvSpPr>
        <p:spPr/>
        <p:txBody>
          <a:bodyPr/>
          <a:lstStyle/>
          <a:p>
            <a:fld id="{914292A2-C371-4A90-A5CC-38E01B82EA60}" type="slidenum">
              <a:rPr lang="de-DE" smtClean="0"/>
              <a:pPr/>
              <a:t>7</a:t>
            </a:fld>
            <a:endParaRPr lang="de-DE" dirty="0"/>
          </a:p>
        </p:txBody>
      </p:sp>
      <p:sp>
        <p:nvSpPr>
          <p:cNvPr id="5" name="Text Placeholder 4">
            <a:extLst>
              <a:ext uri="{FF2B5EF4-FFF2-40B4-BE49-F238E27FC236}">
                <a16:creationId xmlns:a16="http://schemas.microsoft.com/office/drawing/2014/main" id="{EC784578-3F49-324C-9B7E-3C8AB9DD7AEF}"/>
              </a:ext>
            </a:extLst>
          </p:cNvPr>
          <p:cNvSpPr>
            <a:spLocks noGrp="1"/>
          </p:cNvSpPr>
          <p:nvPr>
            <p:ph type="body" sz="quarter" idx="13"/>
          </p:nvPr>
        </p:nvSpPr>
        <p:spPr/>
        <p:txBody>
          <a:bodyPr>
            <a:normAutofit lnSpcReduction="10000"/>
          </a:bodyPr>
          <a:lstStyle/>
          <a:p>
            <a:r>
              <a:rPr lang="en-US" spc="100" dirty="0">
                <a:solidFill>
                  <a:schemeClr val="bg2">
                    <a:lumMod val="50000"/>
                  </a:schemeClr>
                </a:solidFill>
                <a:latin typeface="Poppins Medium" panose="00000600000000000000" pitchFamily="2" charset="0"/>
                <a:cs typeface="Poppins Medium" panose="00000600000000000000" pitchFamily="2" charset="0"/>
              </a:rPr>
              <a:t>Source goes here in Poppins Medium size 9</a:t>
            </a:r>
          </a:p>
        </p:txBody>
      </p:sp>
      <p:sp>
        <p:nvSpPr>
          <p:cNvPr id="96" name="Rectangle 95">
            <a:extLst>
              <a:ext uri="{FF2B5EF4-FFF2-40B4-BE49-F238E27FC236}">
                <a16:creationId xmlns:a16="http://schemas.microsoft.com/office/drawing/2014/main" id="{53253E34-FF43-40E4-9AD4-51EFD65FDABC}"/>
              </a:ext>
            </a:extLst>
          </p:cNvPr>
          <p:cNvSpPr>
            <a:spLocks/>
          </p:cNvSpPr>
          <p:nvPr/>
        </p:nvSpPr>
        <p:spPr>
          <a:xfrm>
            <a:off x="3277395" y="4218409"/>
            <a:ext cx="1104423" cy="579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742950" eaLnBrk="1" fontAlgn="auto" hangingPunct="1">
              <a:spcBef>
                <a:spcPts val="0"/>
              </a:spcBef>
              <a:spcAft>
                <a:spcPts val="0"/>
              </a:spcAft>
              <a:defRPr/>
            </a:pPr>
            <a:r>
              <a:rPr lang="en-US" sz="2400" b="1" kern="0" dirty="0">
                <a:solidFill>
                  <a:srgbClr val="003F62"/>
                </a:solidFill>
              </a:rPr>
              <a:t>70%</a:t>
            </a:r>
          </a:p>
        </p:txBody>
      </p:sp>
      <p:sp>
        <p:nvSpPr>
          <p:cNvPr id="97" name="Rectangle 96">
            <a:extLst>
              <a:ext uri="{FF2B5EF4-FFF2-40B4-BE49-F238E27FC236}">
                <a16:creationId xmlns:a16="http://schemas.microsoft.com/office/drawing/2014/main" id="{B9EFB29D-774D-481F-BCEA-F8C6ABB63DC7}"/>
              </a:ext>
            </a:extLst>
          </p:cNvPr>
          <p:cNvSpPr>
            <a:spLocks/>
          </p:cNvSpPr>
          <p:nvPr/>
        </p:nvSpPr>
        <p:spPr>
          <a:xfrm>
            <a:off x="5775481" y="4201771"/>
            <a:ext cx="1104423" cy="579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742950" eaLnBrk="1" fontAlgn="auto" hangingPunct="1">
              <a:spcBef>
                <a:spcPts val="0"/>
              </a:spcBef>
              <a:spcAft>
                <a:spcPts val="0"/>
              </a:spcAft>
              <a:defRPr/>
            </a:pPr>
            <a:r>
              <a:rPr lang="en-US" sz="2400" b="1" kern="0" dirty="0">
                <a:solidFill>
                  <a:srgbClr val="003F62"/>
                </a:solidFill>
              </a:rPr>
              <a:t>50%</a:t>
            </a:r>
          </a:p>
        </p:txBody>
      </p:sp>
      <p:sp>
        <p:nvSpPr>
          <p:cNvPr id="98" name="Rectangle 97">
            <a:extLst>
              <a:ext uri="{FF2B5EF4-FFF2-40B4-BE49-F238E27FC236}">
                <a16:creationId xmlns:a16="http://schemas.microsoft.com/office/drawing/2014/main" id="{BADCD83F-BF21-42E6-AB7D-638B80E5FD53}"/>
              </a:ext>
            </a:extLst>
          </p:cNvPr>
          <p:cNvSpPr>
            <a:spLocks/>
          </p:cNvSpPr>
          <p:nvPr/>
        </p:nvSpPr>
        <p:spPr>
          <a:xfrm>
            <a:off x="779309" y="4297343"/>
            <a:ext cx="1104423" cy="579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742950" eaLnBrk="1" fontAlgn="auto" hangingPunct="1">
              <a:spcBef>
                <a:spcPts val="0"/>
              </a:spcBef>
              <a:spcAft>
                <a:spcPts val="0"/>
              </a:spcAft>
              <a:defRPr/>
            </a:pPr>
            <a:r>
              <a:rPr lang="en-US" sz="2400" b="1" kern="0" dirty="0">
                <a:solidFill>
                  <a:srgbClr val="003F62"/>
                </a:solidFill>
              </a:rPr>
              <a:t>80%</a:t>
            </a:r>
          </a:p>
        </p:txBody>
      </p:sp>
      <p:sp>
        <p:nvSpPr>
          <p:cNvPr id="99" name="Rectangle 98">
            <a:extLst>
              <a:ext uri="{FF2B5EF4-FFF2-40B4-BE49-F238E27FC236}">
                <a16:creationId xmlns:a16="http://schemas.microsoft.com/office/drawing/2014/main" id="{03513DE9-72C1-459D-89D0-534CEBEFA2D0}"/>
              </a:ext>
            </a:extLst>
          </p:cNvPr>
          <p:cNvSpPr>
            <a:spLocks/>
          </p:cNvSpPr>
          <p:nvPr/>
        </p:nvSpPr>
        <p:spPr>
          <a:xfrm>
            <a:off x="8273566" y="4218409"/>
            <a:ext cx="1104423" cy="579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742950" eaLnBrk="1" fontAlgn="auto" hangingPunct="1">
              <a:spcBef>
                <a:spcPts val="0"/>
              </a:spcBef>
              <a:spcAft>
                <a:spcPts val="0"/>
              </a:spcAft>
              <a:defRPr/>
            </a:pPr>
            <a:r>
              <a:rPr lang="en-US" sz="2400" b="1" kern="0" dirty="0">
                <a:solidFill>
                  <a:srgbClr val="003F62"/>
                </a:solidFill>
              </a:rPr>
              <a:t>10%</a:t>
            </a:r>
          </a:p>
        </p:txBody>
      </p:sp>
      <p:grpSp>
        <p:nvGrpSpPr>
          <p:cNvPr id="8" name="Group 7">
            <a:extLst>
              <a:ext uri="{FF2B5EF4-FFF2-40B4-BE49-F238E27FC236}">
                <a16:creationId xmlns:a16="http://schemas.microsoft.com/office/drawing/2014/main" id="{975FFEB5-6350-4705-8FB1-38A495411C57}"/>
              </a:ext>
            </a:extLst>
          </p:cNvPr>
          <p:cNvGrpSpPr/>
          <p:nvPr/>
        </p:nvGrpSpPr>
        <p:grpSpPr>
          <a:xfrm>
            <a:off x="417236" y="1196282"/>
            <a:ext cx="1639743" cy="3141914"/>
            <a:chOff x="419142" y="1194064"/>
            <a:chExt cx="1536192" cy="3141914"/>
          </a:xfrm>
        </p:grpSpPr>
        <p:sp>
          <p:nvSpPr>
            <p:cNvPr id="199" name="Rectangle: Rounded Corners 198">
              <a:extLst>
                <a:ext uri="{FF2B5EF4-FFF2-40B4-BE49-F238E27FC236}">
                  <a16:creationId xmlns:a16="http://schemas.microsoft.com/office/drawing/2014/main" id="{5F5D30D3-62F3-4CAD-BD15-ED7C713090E5}"/>
                </a:ext>
              </a:extLst>
            </p:cNvPr>
            <p:cNvSpPr/>
            <p:nvPr/>
          </p:nvSpPr>
          <p:spPr>
            <a:xfrm>
              <a:off x="419142" y="4064561"/>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1" name="Rectangle: Rounded Corners 200">
              <a:extLst>
                <a:ext uri="{FF2B5EF4-FFF2-40B4-BE49-F238E27FC236}">
                  <a16:creationId xmlns:a16="http://schemas.microsoft.com/office/drawing/2014/main" id="{F9AB2809-BCB5-47A0-89AF-4318C4A037E0}"/>
                </a:ext>
              </a:extLst>
            </p:cNvPr>
            <p:cNvSpPr/>
            <p:nvPr/>
          </p:nvSpPr>
          <p:spPr>
            <a:xfrm>
              <a:off x="1201108" y="4064561"/>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87" name="Rectangle: Rounded Corners 186">
              <a:extLst>
                <a:ext uri="{FF2B5EF4-FFF2-40B4-BE49-F238E27FC236}">
                  <a16:creationId xmlns:a16="http://schemas.microsoft.com/office/drawing/2014/main" id="{AC9F6ACD-C467-4AE9-9DC0-6288E32FCCC0}"/>
                </a:ext>
              </a:extLst>
            </p:cNvPr>
            <p:cNvSpPr/>
            <p:nvPr/>
          </p:nvSpPr>
          <p:spPr>
            <a:xfrm>
              <a:off x="419142" y="2150897"/>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88" name="Rectangle: Rounded Corners 187">
              <a:extLst>
                <a:ext uri="{FF2B5EF4-FFF2-40B4-BE49-F238E27FC236}">
                  <a16:creationId xmlns:a16="http://schemas.microsoft.com/office/drawing/2014/main" id="{D01E63B7-E425-4BC3-858B-362EF2DBB472}"/>
                </a:ext>
              </a:extLst>
            </p:cNvPr>
            <p:cNvSpPr/>
            <p:nvPr/>
          </p:nvSpPr>
          <p:spPr>
            <a:xfrm>
              <a:off x="419142" y="1831953"/>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89" name="Rectangle: Rounded Corners 188">
              <a:extLst>
                <a:ext uri="{FF2B5EF4-FFF2-40B4-BE49-F238E27FC236}">
                  <a16:creationId xmlns:a16="http://schemas.microsoft.com/office/drawing/2014/main" id="{EC83D437-3E9D-4D0B-AD81-E86D12E8AB1D}"/>
                </a:ext>
              </a:extLst>
            </p:cNvPr>
            <p:cNvSpPr/>
            <p:nvPr/>
          </p:nvSpPr>
          <p:spPr>
            <a:xfrm>
              <a:off x="1202734" y="2150896"/>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0" name="Rectangle: Rounded Corners 189">
              <a:extLst>
                <a:ext uri="{FF2B5EF4-FFF2-40B4-BE49-F238E27FC236}">
                  <a16:creationId xmlns:a16="http://schemas.microsoft.com/office/drawing/2014/main" id="{9ED12C0C-13A3-4B86-ABA5-D61F5C939B8B}"/>
                </a:ext>
              </a:extLst>
            </p:cNvPr>
            <p:cNvSpPr/>
            <p:nvPr/>
          </p:nvSpPr>
          <p:spPr>
            <a:xfrm>
              <a:off x="1202734" y="1831952"/>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1" name="Rectangle: Rounded Corners 190">
              <a:extLst>
                <a:ext uri="{FF2B5EF4-FFF2-40B4-BE49-F238E27FC236}">
                  <a16:creationId xmlns:a16="http://schemas.microsoft.com/office/drawing/2014/main" id="{10D36809-A4C3-4BE2-920A-29145F695F1E}"/>
                </a:ext>
              </a:extLst>
            </p:cNvPr>
            <p:cNvSpPr/>
            <p:nvPr/>
          </p:nvSpPr>
          <p:spPr>
            <a:xfrm>
              <a:off x="419142" y="2788786"/>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2" name="Rectangle: Rounded Corners 191">
              <a:extLst>
                <a:ext uri="{FF2B5EF4-FFF2-40B4-BE49-F238E27FC236}">
                  <a16:creationId xmlns:a16="http://schemas.microsoft.com/office/drawing/2014/main" id="{CD55C93D-97D0-4CCC-B965-2C5E2132E34A}"/>
                </a:ext>
              </a:extLst>
            </p:cNvPr>
            <p:cNvSpPr/>
            <p:nvPr/>
          </p:nvSpPr>
          <p:spPr>
            <a:xfrm>
              <a:off x="419142" y="2469842"/>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3" name="Rectangle: Rounded Corners 192">
              <a:extLst>
                <a:ext uri="{FF2B5EF4-FFF2-40B4-BE49-F238E27FC236}">
                  <a16:creationId xmlns:a16="http://schemas.microsoft.com/office/drawing/2014/main" id="{82BBF4A7-D92B-49DD-AFEC-6ED0053C0CEC}"/>
                </a:ext>
              </a:extLst>
            </p:cNvPr>
            <p:cNvSpPr/>
            <p:nvPr/>
          </p:nvSpPr>
          <p:spPr>
            <a:xfrm>
              <a:off x="1202734" y="2788784"/>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4" name="Rectangle: Rounded Corners 193">
              <a:extLst>
                <a:ext uri="{FF2B5EF4-FFF2-40B4-BE49-F238E27FC236}">
                  <a16:creationId xmlns:a16="http://schemas.microsoft.com/office/drawing/2014/main" id="{E83002B5-39B3-4DA1-926D-CE3D387667E0}"/>
                </a:ext>
              </a:extLst>
            </p:cNvPr>
            <p:cNvSpPr/>
            <p:nvPr/>
          </p:nvSpPr>
          <p:spPr>
            <a:xfrm>
              <a:off x="1202734" y="2469840"/>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5" name="Rectangle: Rounded Corners 194">
              <a:extLst>
                <a:ext uri="{FF2B5EF4-FFF2-40B4-BE49-F238E27FC236}">
                  <a16:creationId xmlns:a16="http://schemas.microsoft.com/office/drawing/2014/main" id="{4D787697-DED6-40DE-B8E8-59D05B012161}"/>
                </a:ext>
              </a:extLst>
            </p:cNvPr>
            <p:cNvSpPr/>
            <p:nvPr/>
          </p:nvSpPr>
          <p:spPr>
            <a:xfrm>
              <a:off x="419142" y="3426675"/>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6" name="Rectangle: Rounded Corners 195">
              <a:extLst>
                <a:ext uri="{FF2B5EF4-FFF2-40B4-BE49-F238E27FC236}">
                  <a16:creationId xmlns:a16="http://schemas.microsoft.com/office/drawing/2014/main" id="{98EEEE1F-C560-4932-81C6-2401BAFE8ED1}"/>
                </a:ext>
              </a:extLst>
            </p:cNvPr>
            <p:cNvSpPr/>
            <p:nvPr/>
          </p:nvSpPr>
          <p:spPr>
            <a:xfrm>
              <a:off x="419142" y="3107730"/>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7" name="Rectangle: Rounded Corners 196">
              <a:extLst>
                <a:ext uri="{FF2B5EF4-FFF2-40B4-BE49-F238E27FC236}">
                  <a16:creationId xmlns:a16="http://schemas.microsoft.com/office/drawing/2014/main" id="{9D725FDB-D19A-4B5C-9513-B725C3F97F4C}"/>
                </a:ext>
              </a:extLst>
            </p:cNvPr>
            <p:cNvSpPr/>
            <p:nvPr/>
          </p:nvSpPr>
          <p:spPr>
            <a:xfrm>
              <a:off x="1202734" y="3426672"/>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8" name="Rectangle: Rounded Corners 197">
              <a:extLst>
                <a:ext uri="{FF2B5EF4-FFF2-40B4-BE49-F238E27FC236}">
                  <a16:creationId xmlns:a16="http://schemas.microsoft.com/office/drawing/2014/main" id="{A967BC01-FA40-4FB6-992B-A398174149B9}"/>
                </a:ext>
              </a:extLst>
            </p:cNvPr>
            <p:cNvSpPr/>
            <p:nvPr/>
          </p:nvSpPr>
          <p:spPr>
            <a:xfrm>
              <a:off x="1202734" y="3107728"/>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0" name="Rectangle: Rounded Corners 199">
              <a:extLst>
                <a:ext uri="{FF2B5EF4-FFF2-40B4-BE49-F238E27FC236}">
                  <a16:creationId xmlns:a16="http://schemas.microsoft.com/office/drawing/2014/main" id="{1B372DFF-AD4A-4694-A8F1-36309B520F2A}"/>
                </a:ext>
              </a:extLst>
            </p:cNvPr>
            <p:cNvSpPr/>
            <p:nvPr/>
          </p:nvSpPr>
          <p:spPr>
            <a:xfrm>
              <a:off x="419142" y="3745619"/>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2" name="Rectangle: Rounded Corners 201">
              <a:extLst>
                <a:ext uri="{FF2B5EF4-FFF2-40B4-BE49-F238E27FC236}">
                  <a16:creationId xmlns:a16="http://schemas.microsoft.com/office/drawing/2014/main" id="{CC62C284-FD13-47CD-9B9C-277423A75681}"/>
                </a:ext>
              </a:extLst>
            </p:cNvPr>
            <p:cNvSpPr/>
            <p:nvPr/>
          </p:nvSpPr>
          <p:spPr>
            <a:xfrm>
              <a:off x="1202734" y="3745616"/>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3" name="Rectangle: Rounded Corners 202">
              <a:extLst>
                <a:ext uri="{FF2B5EF4-FFF2-40B4-BE49-F238E27FC236}">
                  <a16:creationId xmlns:a16="http://schemas.microsoft.com/office/drawing/2014/main" id="{979FC026-EFFC-4707-9C45-5BBD6F7918DE}"/>
                </a:ext>
              </a:extLst>
            </p:cNvPr>
            <p:cNvSpPr/>
            <p:nvPr/>
          </p:nvSpPr>
          <p:spPr>
            <a:xfrm>
              <a:off x="419142" y="1513009"/>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4" name="Rectangle: Rounded Corners 203">
              <a:extLst>
                <a:ext uri="{FF2B5EF4-FFF2-40B4-BE49-F238E27FC236}">
                  <a16:creationId xmlns:a16="http://schemas.microsoft.com/office/drawing/2014/main" id="{9534FBEC-C0A7-4454-8197-ACE8C4F937E1}"/>
                </a:ext>
              </a:extLst>
            </p:cNvPr>
            <p:cNvSpPr/>
            <p:nvPr/>
          </p:nvSpPr>
          <p:spPr>
            <a:xfrm>
              <a:off x="419142" y="1194064"/>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5" name="Rectangle: Rounded Corners 204">
              <a:extLst>
                <a:ext uri="{FF2B5EF4-FFF2-40B4-BE49-F238E27FC236}">
                  <a16:creationId xmlns:a16="http://schemas.microsoft.com/office/drawing/2014/main" id="{80309C96-5E9B-4FCE-9EF6-7E33B124DD05}"/>
                </a:ext>
              </a:extLst>
            </p:cNvPr>
            <p:cNvSpPr/>
            <p:nvPr/>
          </p:nvSpPr>
          <p:spPr>
            <a:xfrm>
              <a:off x="1199580" y="1513008"/>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6" name="Rectangle: Rounded Corners 205">
              <a:extLst>
                <a:ext uri="{FF2B5EF4-FFF2-40B4-BE49-F238E27FC236}">
                  <a16:creationId xmlns:a16="http://schemas.microsoft.com/office/drawing/2014/main" id="{D67662DE-D8CE-46DC-BD8C-B005A1896B07}"/>
                </a:ext>
              </a:extLst>
            </p:cNvPr>
            <p:cNvSpPr/>
            <p:nvPr/>
          </p:nvSpPr>
          <p:spPr>
            <a:xfrm>
              <a:off x="1199580" y="1194064"/>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grpSp>
      <p:grpSp>
        <p:nvGrpSpPr>
          <p:cNvPr id="7" name="Group 6">
            <a:extLst>
              <a:ext uri="{FF2B5EF4-FFF2-40B4-BE49-F238E27FC236}">
                <a16:creationId xmlns:a16="http://schemas.microsoft.com/office/drawing/2014/main" id="{493D58CE-AE99-4E9F-B460-E041EFF9499F}"/>
              </a:ext>
            </a:extLst>
          </p:cNvPr>
          <p:cNvGrpSpPr/>
          <p:nvPr/>
        </p:nvGrpSpPr>
        <p:grpSpPr>
          <a:xfrm>
            <a:off x="2899115" y="1196163"/>
            <a:ext cx="1639743" cy="3141914"/>
            <a:chOff x="2792217" y="1196163"/>
            <a:chExt cx="1536192" cy="3141914"/>
          </a:xfrm>
        </p:grpSpPr>
        <p:sp>
          <p:nvSpPr>
            <p:cNvPr id="297" name="Rectangle: Rounded Corners 296">
              <a:extLst>
                <a:ext uri="{FF2B5EF4-FFF2-40B4-BE49-F238E27FC236}">
                  <a16:creationId xmlns:a16="http://schemas.microsoft.com/office/drawing/2014/main" id="{526053A4-156B-438A-B5A0-3D831E1550B6}"/>
                </a:ext>
              </a:extLst>
            </p:cNvPr>
            <p:cNvSpPr/>
            <p:nvPr/>
          </p:nvSpPr>
          <p:spPr>
            <a:xfrm>
              <a:off x="2792217" y="4066660"/>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98" name="Rectangle: Rounded Corners 297">
              <a:extLst>
                <a:ext uri="{FF2B5EF4-FFF2-40B4-BE49-F238E27FC236}">
                  <a16:creationId xmlns:a16="http://schemas.microsoft.com/office/drawing/2014/main" id="{237C8126-80A6-41CF-9767-060A4E366AA4}"/>
                </a:ext>
              </a:extLst>
            </p:cNvPr>
            <p:cNvSpPr/>
            <p:nvPr/>
          </p:nvSpPr>
          <p:spPr>
            <a:xfrm>
              <a:off x="3574183" y="4066660"/>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0" name="Rectangle: Rounded Corners 299">
              <a:extLst>
                <a:ext uri="{FF2B5EF4-FFF2-40B4-BE49-F238E27FC236}">
                  <a16:creationId xmlns:a16="http://schemas.microsoft.com/office/drawing/2014/main" id="{EAF8064C-B9E3-416C-976E-C2E34BFC932B}"/>
                </a:ext>
              </a:extLst>
            </p:cNvPr>
            <p:cNvSpPr/>
            <p:nvPr/>
          </p:nvSpPr>
          <p:spPr>
            <a:xfrm>
              <a:off x="2792217" y="2152996"/>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1" name="Rectangle: Rounded Corners 300">
              <a:extLst>
                <a:ext uri="{FF2B5EF4-FFF2-40B4-BE49-F238E27FC236}">
                  <a16:creationId xmlns:a16="http://schemas.microsoft.com/office/drawing/2014/main" id="{332FD2C4-BE27-4898-A77E-0713B26A52E2}"/>
                </a:ext>
              </a:extLst>
            </p:cNvPr>
            <p:cNvSpPr/>
            <p:nvPr/>
          </p:nvSpPr>
          <p:spPr>
            <a:xfrm>
              <a:off x="2792217" y="183405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2" name="Rectangle: Rounded Corners 301">
              <a:extLst>
                <a:ext uri="{FF2B5EF4-FFF2-40B4-BE49-F238E27FC236}">
                  <a16:creationId xmlns:a16="http://schemas.microsoft.com/office/drawing/2014/main" id="{642336A3-63FC-4AA7-AC42-4130ED6057AB}"/>
                </a:ext>
              </a:extLst>
            </p:cNvPr>
            <p:cNvSpPr/>
            <p:nvPr/>
          </p:nvSpPr>
          <p:spPr>
            <a:xfrm>
              <a:off x="3575809" y="2152995"/>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3" name="Rectangle: Rounded Corners 302">
              <a:extLst>
                <a:ext uri="{FF2B5EF4-FFF2-40B4-BE49-F238E27FC236}">
                  <a16:creationId xmlns:a16="http://schemas.microsoft.com/office/drawing/2014/main" id="{EB6C2749-28BB-4DF1-8F55-7B642A8167B1}"/>
                </a:ext>
              </a:extLst>
            </p:cNvPr>
            <p:cNvSpPr/>
            <p:nvPr/>
          </p:nvSpPr>
          <p:spPr>
            <a:xfrm>
              <a:off x="3575809" y="1834051"/>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4" name="Rectangle: Rounded Corners 303">
              <a:extLst>
                <a:ext uri="{FF2B5EF4-FFF2-40B4-BE49-F238E27FC236}">
                  <a16:creationId xmlns:a16="http://schemas.microsoft.com/office/drawing/2014/main" id="{1878ADBD-E749-4919-AD9C-4F9F2250F305}"/>
                </a:ext>
              </a:extLst>
            </p:cNvPr>
            <p:cNvSpPr/>
            <p:nvPr/>
          </p:nvSpPr>
          <p:spPr>
            <a:xfrm>
              <a:off x="2792217" y="2790885"/>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5" name="Rectangle: Rounded Corners 304">
              <a:extLst>
                <a:ext uri="{FF2B5EF4-FFF2-40B4-BE49-F238E27FC236}">
                  <a16:creationId xmlns:a16="http://schemas.microsoft.com/office/drawing/2014/main" id="{6669C795-1487-4C33-B426-D34EF2504E89}"/>
                </a:ext>
              </a:extLst>
            </p:cNvPr>
            <p:cNvSpPr/>
            <p:nvPr/>
          </p:nvSpPr>
          <p:spPr>
            <a:xfrm>
              <a:off x="2792217" y="2471941"/>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6" name="Rectangle: Rounded Corners 305">
              <a:extLst>
                <a:ext uri="{FF2B5EF4-FFF2-40B4-BE49-F238E27FC236}">
                  <a16:creationId xmlns:a16="http://schemas.microsoft.com/office/drawing/2014/main" id="{F61AA437-5CE3-451A-9365-A3775AB49842}"/>
                </a:ext>
              </a:extLst>
            </p:cNvPr>
            <p:cNvSpPr/>
            <p:nvPr/>
          </p:nvSpPr>
          <p:spPr>
            <a:xfrm>
              <a:off x="3575809" y="2790883"/>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7" name="Rectangle: Rounded Corners 306">
              <a:extLst>
                <a:ext uri="{FF2B5EF4-FFF2-40B4-BE49-F238E27FC236}">
                  <a16:creationId xmlns:a16="http://schemas.microsoft.com/office/drawing/2014/main" id="{52BD802C-B891-4474-82CE-92E4D6E27287}"/>
                </a:ext>
              </a:extLst>
            </p:cNvPr>
            <p:cNvSpPr/>
            <p:nvPr/>
          </p:nvSpPr>
          <p:spPr>
            <a:xfrm>
              <a:off x="3575809" y="2471939"/>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8" name="Rectangle: Rounded Corners 307">
              <a:extLst>
                <a:ext uri="{FF2B5EF4-FFF2-40B4-BE49-F238E27FC236}">
                  <a16:creationId xmlns:a16="http://schemas.microsoft.com/office/drawing/2014/main" id="{ECFE4D27-A97F-474E-B148-60A2E565D25C}"/>
                </a:ext>
              </a:extLst>
            </p:cNvPr>
            <p:cNvSpPr/>
            <p:nvPr/>
          </p:nvSpPr>
          <p:spPr>
            <a:xfrm>
              <a:off x="2792217" y="3428774"/>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9" name="Rectangle: Rounded Corners 308">
              <a:extLst>
                <a:ext uri="{FF2B5EF4-FFF2-40B4-BE49-F238E27FC236}">
                  <a16:creationId xmlns:a16="http://schemas.microsoft.com/office/drawing/2014/main" id="{EC9E4C5C-9C46-4DB1-A431-A13455665428}"/>
                </a:ext>
              </a:extLst>
            </p:cNvPr>
            <p:cNvSpPr/>
            <p:nvPr/>
          </p:nvSpPr>
          <p:spPr>
            <a:xfrm>
              <a:off x="2792217" y="3109829"/>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0" name="Rectangle: Rounded Corners 309">
              <a:extLst>
                <a:ext uri="{FF2B5EF4-FFF2-40B4-BE49-F238E27FC236}">
                  <a16:creationId xmlns:a16="http://schemas.microsoft.com/office/drawing/2014/main" id="{11811214-928E-4160-B7AB-E678A30EF2D9}"/>
                </a:ext>
              </a:extLst>
            </p:cNvPr>
            <p:cNvSpPr/>
            <p:nvPr/>
          </p:nvSpPr>
          <p:spPr>
            <a:xfrm>
              <a:off x="3575809" y="3428771"/>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1" name="Rectangle: Rounded Corners 310">
              <a:extLst>
                <a:ext uri="{FF2B5EF4-FFF2-40B4-BE49-F238E27FC236}">
                  <a16:creationId xmlns:a16="http://schemas.microsoft.com/office/drawing/2014/main" id="{FE304D92-4D03-47BD-9C80-4339EBFBB197}"/>
                </a:ext>
              </a:extLst>
            </p:cNvPr>
            <p:cNvSpPr/>
            <p:nvPr/>
          </p:nvSpPr>
          <p:spPr>
            <a:xfrm>
              <a:off x="3575809" y="3109827"/>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2" name="Rectangle: Rounded Corners 311">
              <a:extLst>
                <a:ext uri="{FF2B5EF4-FFF2-40B4-BE49-F238E27FC236}">
                  <a16:creationId xmlns:a16="http://schemas.microsoft.com/office/drawing/2014/main" id="{B759C51E-B44C-404D-B230-7687BEC61251}"/>
                </a:ext>
              </a:extLst>
            </p:cNvPr>
            <p:cNvSpPr/>
            <p:nvPr/>
          </p:nvSpPr>
          <p:spPr>
            <a:xfrm>
              <a:off x="2792217" y="3747718"/>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3" name="Rectangle: Rounded Corners 312">
              <a:extLst>
                <a:ext uri="{FF2B5EF4-FFF2-40B4-BE49-F238E27FC236}">
                  <a16:creationId xmlns:a16="http://schemas.microsoft.com/office/drawing/2014/main" id="{BCCDB7D8-CD79-4163-A75C-FC6A09E13215}"/>
                </a:ext>
              </a:extLst>
            </p:cNvPr>
            <p:cNvSpPr/>
            <p:nvPr/>
          </p:nvSpPr>
          <p:spPr>
            <a:xfrm>
              <a:off x="3575809" y="3747715"/>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4" name="Rectangle: Rounded Corners 313">
              <a:extLst>
                <a:ext uri="{FF2B5EF4-FFF2-40B4-BE49-F238E27FC236}">
                  <a16:creationId xmlns:a16="http://schemas.microsoft.com/office/drawing/2014/main" id="{D0D09C03-93CD-46E2-B19E-87DF8BEFAA52}"/>
                </a:ext>
              </a:extLst>
            </p:cNvPr>
            <p:cNvSpPr/>
            <p:nvPr/>
          </p:nvSpPr>
          <p:spPr>
            <a:xfrm>
              <a:off x="2792217" y="1515108"/>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5" name="Rectangle: Rounded Corners 314">
              <a:extLst>
                <a:ext uri="{FF2B5EF4-FFF2-40B4-BE49-F238E27FC236}">
                  <a16:creationId xmlns:a16="http://schemas.microsoft.com/office/drawing/2014/main" id="{083E4D3B-B6F9-4A00-8154-7649456A1D07}"/>
                </a:ext>
              </a:extLst>
            </p:cNvPr>
            <p:cNvSpPr/>
            <p:nvPr/>
          </p:nvSpPr>
          <p:spPr>
            <a:xfrm>
              <a:off x="2792217" y="1196163"/>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6" name="Rectangle: Rounded Corners 315">
              <a:extLst>
                <a:ext uri="{FF2B5EF4-FFF2-40B4-BE49-F238E27FC236}">
                  <a16:creationId xmlns:a16="http://schemas.microsoft.com/office/drawing/2014/main" id="{AB646642-F3C9-40C9-8B72-F1701E202F03}"/>
                </a:ext>
              </a:extLst>
            </p:cNvPr>
            <p:cNvSpPr/>
            <p:nvPr/>
          </p:nvSpPr>
          <p:spPr>
            <a:xfrm>
              <a:off x="3572655" y="151510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7" name="Rectangle: Rounded Corners 316">
              <a:extLst>
                <a:ext uri="{FF2B5EF4-FFF2-40B4-BE49-F238E27FC236}">
                  <a16:creationId xmlns:a16="http://schemas.microsoft.com/office/drawing/2014/main" id="{EA0ACD6F-6B31-4054-AF08-E48940A4CA90}"/>
                </a:ext>
              </a:extLst>
            </p:cNvPr>
            <p:cNvSpPr/>
            <p:nvPr/>
          </p:nvSpPr>
          <p:spPr>
            <a:xfrm>
              <a:off x="3572655" y="1196163"/>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grpSp>
      <p:grpSp>
        <p:nvGrpSpPr>
          <p:cNvPr id="6" name="Group 5">
            <a:extLst>
              <a:ext uri="{FF2B5EF4-FFF2-40B4-BE49-F238E27FC236}">
                <a16:creationId xmlns:a16="http://schemas.microsoft.com/office/drawing/2014/main" id="{4360CA58-B6ED-4DA9-B744-C8DB75320305}"/>
              </a:ext>
            </a:extLst>
          </p:cNvPr>
          <p:cNvGrpSpPr/>
          <p:nvPr/>
        </p:nvGrpSpPr>
        <p:grpSpPr>
          <a:xfrm>
            <a:off x="5379089" y="1197172"/>
            <a:ext cx="1639743" cy="3141914"/>
            <a:chOff x="5442302" y="1193362"/>
            <a:chExt cx="1536192" cy="3141914"/>
          </a:xfrm>
        </p:grpSpPr>
        <p:sp>
          <p:nvSpPr>
            <p:cNvPr id="341" name="Rectangle: Rounded Corners 340">
              <a:extLst>
                <a:ext uri="{FF2B5EF4-FFF2-40B4-BE49-F238E27FC236}">
                  <a16:creationId xmlns:a16="http://schemas.microsoft.com/office/drawing/2014/main" id="{BAED5D40-7741-4432-A0AB-2880CF7BF32E}"/>
                </a:ext>
              </a:extLst>
            </p:cNvPr>
            <p:cNvSpPr/>
            <p:nvPr/>
          </p:nvSpPr>
          <p:spPr>
            <a:xfrm>
              <a:off x="5442302" y="4063859"/>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2" name="Rectangle: Rounded Corners 341">
              <a:extLst>
                <a:ext uri="{FF2B5EF4-FFF2-40B4-BE49-F238E27FC236}">
                  <a16:creationId xmlns:a16="http://schemas.microsoft.com/office/drawing/2014/main" id="{05557379-F4C7-4976-A36D-1BA0A1D84735}"/>
                </a:ext>
              </a:extLst>
            </p:cNvPr>
            <p:cNvSpPr/>
            <p:nvPr/>
          </p:nvSpPr>
          <p:spPr>
            <a:xfrm>
              <a:off x="6224268" y="4063859"/>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4" name="Rectangle: Rounded Corners 343">
              <a:extLst>
                <a:ext uri="{FF2B5EF4-FFF2-40B4-BE49-F238E27FC236}">
                  <a16:creationId xmlns:a16="http://schemas.microsoft.com/office/drawing/2014/main" id="{A11DC11F-D30A-4664-BE49-B53519AB653C}"/>
                </a:ext>
              </a:extLst>
            </p:cNvPr>
            <p:cNvSpPr/>
            <p:nvPr/>
          </p:nvSpPr>
          <p:spPr>
            <a:xfrm>
              <a:off x="5442302" y="2150195"/>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5" name="Rectangle: Rounded Corners 344">
              <a:extLst>
                <a:ext uri="{FF2B5EF4-FFF2-40B4-BE49-F238E27FC236}">
                  <a16:creationId xmlns:a16="http://schemas.microsoft.com/office/drawing/2014/main" id="{1B3A8575-0008-4927-A6EC-15DCE9DAFD53}"/>
                </a:ext>
              </a:extLst>
            </p:cNvPr>
            <p:cNvSpPr/>
            <p:nvPr/>
          </p:nvSpPr>
          <p:spPr>
            <a:xfrm>
              <a:off x="5442302" y="1831251"/>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6" name="Rectangle: Rounded Corners 345">
              <a:extLst>
                <a:ext uri="{FF2B5EF4-FFF2-40B4-BE49-F238E27FC236}">
                  <a16:creationId xmlns:a16="http://schemas.microsoft.com/office/drawing/2014/main" id="{2CA0882E-2EA3-4732-A890-0C20515F62AC}"/>
                </a:ext>
              </a:extLst>
            </p:cNvPr>
            <p:cNvSpPr/>
            <p:nvPr/>
          </p:nvSpPr>
          <p:spPr>
            <a:xfrm>
              <a:off x="6225894" y="2150194"/>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7" name="Rectangle: Rounded Corners 346">
              <a:extLst>
                <a:ext uri="{FF2B5EF4-FFF2-40B4-BE49-F238E27FC236}">
                  <a16:creationId xmlns:a16="http://schemas.microsoft.com/office/drawing/2014/main" id="{844E5403-0235-424C-AC5D-48D1739C4A3E}"/>
                </a:ext>
              </a:extLst>
            </p:cNvPr>
            <p:cNvSpPr/>
            <p:nvPr/>
          </p:nvSpPr>
          <p:spPr>
            <a:xfrm>
              <a:off x="6225894" y="1831250"/>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8" name="Rectangle: Rounded Corners 347">
              <a:extLst>
                <a:ext uri="{FF2B5EF4-FFF2-40B4-BE49-F238E27FC236}">
                  <a16:creationId xmlns:a16="http://schemas.microsoft.com/office/drawing/2014/main" id="{93CE411C-0206-43EB-8F56-0D8D4F58A45B}"/>
                </a:ext>
              </a:extLst>
            </p:cNvPr>
            <p:cNvSpPr/>
            <p:nvPr/>
          </p:nvSpPr>
          <p:spPr>
            <a:xfrm>
              <a:off x="5442302" y="2788084"/>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9" name="Rectangle: Rounded Corners 348">
              <a:extLst>
                <a:ext uri="{FF2B5EF4-FFF2-40B4-BE49-F238E27FC236}">
                  <a16:creationId xmlns:a16="http://schemas.microsoft.com/office/drawing/2014/main" id="{CE91B2AC-2F0D-4889-91C5-C2BCCC606604}"/>
                </a:ext>
              </a:extLst>
            </p:cNvPr>
            <p:cNvSpPr/>
            <p:nvPr/>
          </p:nvSpPr>
          <p:spPr>
            <a:xfrm>
              <a:off x="5442302" y="2469140"/>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0" name="Rectangle: Rounded Corners 349">
              <a:extLst>
                <a:ext uri="{FF2B5EF4-FFF2-40B4-BE49-F238E27FC236}">
                  <a16:creationId xmlns:a16="http://schemas.microsoft.com/office/drawing/2014/main" id="{C7969FB2-C3A0-44A7-93FF-9F86DE4BCD38}"/>
                </a:ext>
              </a:extLst>
            </p:cNvPr>
            <p:cNvSpPr/>
            <p:nvPr/>
          </p:nvSpPr>
          <p:spPr>
            <a:xfrm>
              <a:off x="6225894" y="2788082"/>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1" name="Rectangle: Rounded Corners 350">
              <a:extLst>
                <a:ext uri="{FF2B5EF4-FFF2-40B4-BE49-F238E27FC236}">
                  <a16:creationId xmlns:a16="http://schemas.microsoft.com/office/drawing/2014/main" id="{B7934131-63B1-4EEF-A6D6-2E2CBBBD06D5}"/>
                </a:ext>
              </a:extLst>
            </p:cNvPr>
            <p:cNvSpPr/>
            <p:nvPr/>
          </p:nvSpPr>
          <p:spPr>
            <a:xfrm>
              <a:off x="6225894" y="2469138"/>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2" name="Rectangle: Rounded Corners 351">
              <a:extLst>
                <a:ext uri="{FF2B5EF4-FFF2-40B4-BE49-F238E27FC236}">
                  <a16:creationId xmlns:a16="http://schemas.microsoft.com/office/drawing/2014/main" id="{A42E1CE1-BE8D-490E-AF42-2CBD27D570F2}"/>
                </a:ext>
              </a:extLst>
            </p:cNvPr>
            <p:cNvSpPr/>
            <p:nvPr/>
          </p:nvSpPr>
          <p:spPr>
            <a:xfrm>
              <a:off x="5442302" y="3425973"/>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3" name="Rectangle: Rounded Corners 352">
              <a:extLst>
                <a:ext uri="{FF2B5EF4-FFF2-40B4-BE49-F238E27FC236}">
                  <a16:creationId xmlns:a16="http://schemas.microsoft.com/office/drawing/2014/main" id="{D4AE1D15-E4C4-420D-9AB3-248E3B1A7F59}"/>
                </a:ext>
              </a:extLst>
            </p:cNvPr>
            <p:cNvSpPr/>
            <p:nvPr/>
          </p:nvSpPr>
          <p:spPr>
            <a:xfrm>
              <a:off x="5442302" y="3107028"/>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4" name="Rectangle: Rounded Corners 353">
              <a:extLst>
                <a:ext uri="{FF2B5EF4-FFF2-40B4-BE49-F238E27FC236}">
                  <a16:creationId xmlns:a16="http://schemas.microsoft.com/office/drawing/2014/main" id="{FC300333-EAAF-43A5-99AD-8FEEEC8007EE}"/>
                </a:ext>
              </a:extLst>
            </p:cNvPr>
            <p:cNvSpPr/>
            <p:nvPr/>
          </p:nvSpPr>
          <p:spPr>
            <a:xfrm>
              <a:off x="6225894" y="3425970"/>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5" name="Rectangle: Rounded Corners 354">
              <a:extLst>
                <a:ext uri="{FF2B5EF4-FFF2-40B4-BE49-F238E27FC236}">
                  <a16:creationId xmlns:a16="http://schemas.microsoft.com/office/drawing/2014/main" id="{048F353A-D950-407C-B0FC-52D04408CB92}"/>
                </a:ext>
              </a:extLst>
            </p:cNvPr>
            <p:cNvSpPr/>
            <p:nvPr/>
          </p:nvSpPr>
          <p:spPr>
            <a:xfrm>
              <a:off x="6225894" y="3107026"/>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6" name="Rectangle: Rounded Corners 355">
              <a:extLst>
                <a:ext uri="{FF2B5EF4-FFF2-40B4-BE49-F238E27FC236}">
                  <a16:creationId xmlns:a16="http://schemas.microsoft.com/office/drawing/2014/main" id="{53DA4756-DCD7-4662-AB10-9D16A0AC25FC}"/>
                </a:ext>
              </a:extLst>
            </p:cNvPr>
            <p:cNvSpPr/>
            <p:nvPr/>
          </p:nvSpPr>
          <p:spPr>
            <a:xfrm>
              <a:off x="5442302" y="3744917"/>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7" name="Rectangle: Rounded Corners 356">
              <a:extLst>
                <a:ext uri="{FF2B5EF4-FFF2-40B4-BE49-F238E27FC236}">
                  <a16:creationId xmlns:a16="http://schemas.microsoft.com/office/drawing/2014/main" id="{0E25D61A-BA93-48EA-B00B-A32BE592A12F}"/>
                </a:ext>
              </a:extLst>
            </p:cNvPr>
            <p:cNvSpPr/>
            <p:nvPr/>
          </p:nvSpPr>
          <p:spPr>
            <a:xfrm>
              <a:off x="6225894" y="3744914"/>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8" name="Rectangle: Rounded Corners 357">
              <a:extLst>
                <a:ext uri="{FF2B5EF4-FFF2-40B4-BE49-F238E27FC236}">
                  <a16:creationId xmlns:a16="http://schemas.microsoft.com/office/drawing/2014/main" id="{5361175C-080A-47C8-A6BD-704AA1DD0A13}"/>
                </a:ext>
              </a:extLst>
            </p:cNvPr>
            <p:cNvSpPr/>
            <p:nvPr/>
          </p:nvSpPr>
          <p:spPr>
            <a:xfrm>
              <a:off x="5442302" y="151230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9" name="Rectangle: Rounded Corners 358">
              <a:extLst>
                <a:ext uri="{FF2B5EF4-FFF2-40B4-BE49-F238E27FC236}">
                  <a16:creationId xmlns:a16="http://schemas.microsoft.com/office/drawing/2014/main" id="{4217CB9B-DA48-4B78-846A-38D109CEEC89}"/>
                </a:ext>
              </a:extLst>
            </p:cNvPr>
            <p:cNvSpPr/>
            <p:nvPr/>
          </p:nvSpPr>
          <p:spPr>
            <a:xfrm>
              <a:off x="5442302" y="119336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0" name="Rectangle: Rounded Corners 359">
              <a:extLst>
                <a:ext uri="{FF2B5EF4-FFF2-40B4-BE49-F238E27FC236}">
                  <a16:creationId xmlns:a16="http://schemas.microsoft.com/office/drawing/2014/main" id="{A711CE99-3B46-4D47-B7D0-937BDA898C58}"/>
                </a:ext>
              </a:extLst>
            </p:cNvPr>
            <p:cNvSpPr/>
            <p:nvPr/>
          </p:nvSpPr>
          <p:spPr>
            <a:xfrm>
              <a:off x="6222740" y="1512306"/>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1" name="Rectangle: Rounded Corners 360">
              <a:extLst>
                <a:ext uri="{FF2B5EF4-FFF2-40B4-BE49-F238E27FC236}">
                  <a16:creationId xmlns:a16="http://schemas.microsoft.com/office/drawing/2014/main" id="{9B72EE18-D43C-432A-BD13-9DAD74931049}"/>
                </a:ext>
              </a:extLst>
            </p:cNvPr>
            <p:cNvSpPr/>
            <p:nvPr/>
          </p:nvSpPr>
          <p:spPr>
            <a:xfrm>
              <a:off x="6222740" y="119336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grpSp>
      <p:grpSp>
        <p:nvGrpSpPr>
          <p:cNvPr id="4" name="Group 3">
            <a:extLst>
              <a:ext uri="{FF2B5EF4-FFF2-40B4-BE49-F238E27FC236}">
                <a16:creationId xmlns:a16="http://schemas.microsoft.com/office/drawing/2014/main" id="{62A4449E-A72C-41A9-9201-20D7B05F3A5B}"/>
              </a:ext>
            </a:extLst>
          </p:cNvPr>
          <p:cNvGrpSpPr/>
          <p:nvPr/>
        </p:nvGrpSpPr>
        <p:grpSpPr>
          <a:xfrm>
            <a:off x="7855254" y="1195566"/>
            <a:ext cx="1639743" cy="3141914"/>
            <a:chOff x="7957885" y="1194767"/>
            <a:chExt cx="1536192" cy="3141914"/>
          </a:xfrm>
        </p:grpSpPr>
        <p:sp>
          <p:nvSpPr>
            <p:cNvPr id="363" name="Rectangle: Rounded Corners 362">
              <a:extLst>
                <a:ext uri="{FF2B5EF4-FFF2-40B4-BE49-F238E27FC236}">
                  <a16:creationId xmlns:a16="http://schemas.microsoft.com/office/drawing/2014/main" id="{B6709388-CBA2-4C0C-8E3A-5E969DED0A2C}"/>
                </a:ext>
              </a:extLst>
            </p:cNvPr>
            <p:cNvSpPr/>
            <p:nvPr/>
          </p:nvSpPr>
          <p:spPr>
            <a:xfrm>
              <a:off x="7957885" y="4065264"/>
              <a:ext cx="752600" cy="271417"/>
            </a:xfrm>
            <a:prstGeom prst="roundRect">
              <a:avLst/>
            </a:prstGeom>
            <a:solidFill>
              <a:srgbClr val="03556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4" name="Rectangle: Rounded Corners 363">
              <a:extLst>
                <a:ext uri="{FF2B5EF4-FFF2-40B4-BE49-F238E27FC236}">
                  <a16:creationId xmlns:a16="http://schemas.microsoft.com/office/drawing/2014/main" id="{4F76D590-A016-4619-92B5-584E0B9AB0EE}"/>
                </a:ext>
              </a:extLst>
            </p:cNvPr>
            <p:cNvSpPr/>
            <p:nvPr/>
          </p:nvSpPr>
          <p:spPr>
            <a:xfrm>
              <a:off x="8739851" y="4065264"/>
              <a:ext cx="752600" cy="271417"/>
            </a:xfrm>
            <a:prstGeom prst="roundRect">
              <a:avLst/>
            </a:prstGeom>
            <a:solidFill>
              <a:srgbClr val="03556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6" name="Rectangle: Rounded Corners 365">
              <a:extLst>
                <a:ext uri="{FF2B5EF4-FFF2-40B4-BE49-F238E27FC236}">
                  <a16:creationId xmlns:a16="http://schemas.microsoft.com/office/drawing/2014/main" id="{7243C451-3314-44AB-BE31-6DA7679980D8}"/>
                </a:ext>
              </a:extLst>
            </p:cNvPr>
            <p:cNvSpPr/>
            <p:nvPr/>
          </p:nvSpPr>
          <p:spPr>
            <a:xfrm>
              <a:off x="7957885" y="2151600"/>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7" name="Rectangle: Rounded Corners 366">
              <a:extLst>
                <a:ext uri="{FF2B5EF4-FFF2-40B4-BE49-F238E27FC236}">
                  <a16:creationId xmlns:a16="http://schemas.microsoft.com/office/drawing/2014/main" id="{57DBA2CF-6C27-460E-865E-AF7042C10750}"/>
                </a:ext>
              </a:extLst>
            </p:cNvPr>
            <p:cNvSpPr/>
            <p:nvPr/>
          </p:nvSpPr>
          <p:spPr>
            <a:xfrm>
              <a:off x="7957885" y="1832656"/>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8" name="Rectangle: Rounded Corners 367">
              <a:extLst>
                <a:ext uri="{FF2B5EF4-FFF2-40B4-BE49-F238E27FC236}">
                  <a16:creationId xmlns:a16="http://schemas.microsoft.com/office/drawing/2014/main" id="{1A8E55E9-8F5B-401C-96D7-8710380187B5}"/>
                </a:ext>
              </a:extLst>
            </p:cNvPr>
            <p:cNvSpPr/>
            <p:nvPr/>
          </p:nvSpPr>
          <p:spPr>
            <a:xfrm>
              <a:off x="8741477" y="2151599"/>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9" name="Rectangle: Rounded Corners 368">
              <a:extLst>
                <a:ext uri="{FF2B5EF4-FFF2-40B4-BE49-F238E27FC236}">
                  <a16:creationId xmlns:a16="http://schemas.microsoft.com/office/drawing/2014/main" id="{F469B3F9-AB9E-47C7-A7B2-0532E80AF16C}"/>
                </a:ext>
              </a:extLst>
            </p:cNvPr>
            <p:cNvSpPr/>
            <p:nvPr/>
          </p:nvSpPr>
          <p:spPr>
            <a:xfrm>
              <a:off x="8741477" y="1832655"/>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0" name="Rectangle: Rounded Corners 369">
              <a:extLst>
                <a:ext uri="{FF2B5EF4-FFF2-40B4-BE49-F238E27FC236}">
                  <a16:creationId xmlns:a16="http://schemas.microsoft.com/office/drawing/2014/main" id="{91ACB417-0F84-471D-A985-C2CCF77BD522}"/>
                </a:ext>
              </a:extLst>
            </p:cNvPr>
            <p:cNvSpPr/>
            <p:nvPr/>
          </p:nvSpPr>
          <p:spPr>
            <a:xfrm>
              <a:off x="7957885" y="2789489"/>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1" name="Rectangle: Rounded Corners 370">
              <a:extLst>
                <a:ext uri="{FF2B5EF4-FFF2-40B4-BE49-F238E27FC236}">
                  <a16:creationId xmlns:a16="http://schemas.microsoft.com/office/drawing/2014/main" id="{EC31C98F-1990-43EA-90BE-F663A527239D}"/>
                </a:ext>
              </a:extLst>
            </p:cNvPr>
            <p:cNvSpPr/>
            <p:nvPr/>
          </p:nvSpPr>
          <p:spPr>
            <a:xfrm>
              <a:off x="7957885" y="2470545"/>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2" name="Rectangle: Rounded Corners 371">
              <a:extLst>
                <a:ext uri="{FF2B5EF4-FFF2-40B4-BE49-F238E27FC236}">
                  <a16:creationId xmlns:a16="http://schemas.microsoft.com/office/drawing/2014/main" id="{AF39F5EC-CE8C-453E-9E29-E4FCC68D22E4}"/>
                </a:ext>
              </a:extLst>
            </p:cNvPr>
            <p:cNvSpPr/>
            <p:nvPr/>
          </p:nvSpPr>
          <p:spPr>
            <a:xfrm>
              <a:off x="8741477" y="278948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3" name="Rectangle: Rounded Corners 372">
              <a:extLst>
                <a:ext uri="{FF2B5EF4-FFF2-40B4-BE49-F238E27FC236}">
                  <a16:creationId xmlns:a16="http://schemas.microsoft.com/office/drawing/2014/main" id="{691F4519-D620-45BD-BA64-DBAD3C321F97}"/>
                </a:ext>
              </a:extLst>
            </p:cNvPr>
            <p:cNvSpPr/>
            <p:nvPr/>
          </p:nvSpPr>
          <p:spPr>
            <a:xfrm>
              <a:off x="8741477" y="2470543"/>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4" name="Rectangle: Rounded Corners 373">
              <a:extLst>
                <a:ext uri="{FF2B5EF4-FFF2-40B4-BE49-F238E27FC236}">
                  <a16:creationId xmlns:a16="http://schemas.microsoft.com/office/drawing/2014/main" id="{7937C8C8-C0C2-4ECB-AA88-0B2B068313CE}"/>
                </a:ext>
              </a:extLst>
            </p:cNvPr>
            <p:cNvSpPr/>
            <p:nvPr/>
          </p:nvSpPr>
          <p:spPr>
            <a:xfrm>
              <a:off x="7957885" y="3427378"/>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5" name="Rectangle: Rounded Corners 374">
              <a:extLst>
                <a:ext uri="{FF2B5EF4-FFF2-40B4-BE49-F238E27FC236}">
                  <a16:creationId xmlns:a16="http://schemas.microsoft.com/office/drawing/2014/main" id="{75F22210-CA97-40FD-BEF5-4B2D82BB88B8}"/>
                </a:ext>
              </a:extLst>
            </p:cNvPr>
            <p:cNvSpPr/>
            <p:nvPr/>
          </p:nvSpPr>
          <p:spPr>
            <a:xfrm>
              <a:off x="7957885" y="3108433"/>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6" name="Rectangle: Rounded Corners 375">
              <a:extLst>
                <a:ext uri="{FF2B5EF4-FFF2-40B4-BE49-F238E27FC236}">
                  <a16:creationId xmlns:a16="http://schemas.microsoft.com/office/drawing/2014/main" id="{D0BC8931-D8EA-4691-AA03-AB18681AC0F3}"/>
                </a:ext>
              </a:extLst>
            </p:cNvPr>
            <p:cNvSpPr/>
            <p:nvPr/>
          </p:nvSpPr>
          <p:spPr>
            <a:xfrm>
              <a:off x="8741477" y="3427375"/>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7" name="Rectangle: Rounded Corners 376">
              <a:extLst>
                <a:ext uri="{FF2B5EF4-FFF2-40B4-BE49-F238E27FC236}">
                  <a16:creationId xmlns:a16="http://schemas.microsoft.com/office/drawing/2014/main" id="{26B9E1DB-819B-467D-9B18-9ACF5C982FD6}"/>
                </a:ext>
              </a:extLst>
            </p:cNvPr>
            <p:cNvSpPr/>
            <p:nvPr/>
          </p:nvSpPr>
          <p:spPr>
            <a:xfrm>
              <a:off x="8741477" y="3108431"/>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8" name="Rectangle: Rounded Corners 377">
              <a:extLst>
                <a:ext uri="{FF2B5EF4-FFF2-40B4-BE49-F238E27FC236}">
                  <a16:creationId xmlns:a16="http://schemas.microsoft.com/office/drawing/2014/main" id="{DF7D39F0-4C77-40E8-996C-F35174AA409E}"/>
                </a:ext>
              </a:extLst>
            </p:cNvPr>
            <p:cNvSpPr/>
            <p:nvPr/>
          </p:nvSpPr>
          <p:spPr>
            <a:xfrm>
              <a:off x="7957885" y="374632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9" name="Rectangle: Rounded Corners 378">
              <a:extLst>
                <a:ext uri="{FF2B5EF4-FFF2-40B4-BE49-F238E27FC236}">
                  <a16:creationId xmlns:a16="http://schemas.microsoft.com/office/drawing/2014/main" id="{48D29E0E-20B3-4905-9E20-5E8B50E1562F}"/>
                </a:ext>
              </a:extLst>
            </p:cNvPr>
            <p:cNvSpPr/>
            <p:nvPr/>
          </p:nvSpPr>
          <p:spPr>
            <a:xfrm>
              <a:off x="8741477" y="3746319"/>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80" name="Rectangle: Rounded Corners 379">
              <a:extLst>
                <a:ext uri="{FF2B5EF4-FFF2-40B4-BE49-F238E27FC236}">
                  <a16:creationId xmlns:a16="http://schemas.microsoft.com/office/drawing/2014/main" id="{21C88778-159C-4BCB-99EA-4A12BEF0BC35}"/>
                </a:ext>
              </a:extLst>
            </p:cNvPr>
            <p:cNvSpPr/>
            <p:nvPr/>
          </p:nvSpPr>
          <p:spPr>
            <a:xfrm>
              <a:off x="7957885" y="151371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81" name="Rectangle: Rounded Corners 380">
              <a:extLst>
                <a:ext uri="{FF2B5EF4-FFF2-40B4-BE49-F238E27FC236}">
                  <a16:creationId xmlns:a16="http://schemas.microsoft.com/office/drawing/2014/main" id="{10D21331-3C63-4225-9D57-D32F7F2EA363}"/>
                </a:ext>
              </a:extLst>
            </p:cNvPr>
            <p:cNvSpPr/>
            <p:nvPr/>
          </p:nvSpPr>
          <p:spPr>
            <a:xfrm>
              <a:off x="7957885" y="119476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82" name="Rectangle: Rounded Corners 381">
              <a:extLst>
                <a:ext uri="{FF2B5EF4-FFF2-40B4-BE49-F238E27FC236}">
                  <a16:creationId xmlns:a16="http://schemas.microsoft.com/office/drawing/2014/main" id="{DE8FB4DF-892A-468C-B9BF-5062F49B54A5}"/>
                </a:ext>
              </a:extLst>
            </p:cNvPr>
            <p:cNvSpPr/>
            <p:nvPr/>
          </p:nvSpPr>
          <p:spPr>
            <a:xfrm>
              <a:off x="8738323" y="1513711"/>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83" name="Rectangle: Rounded Corners 382">
              <a:extLst>
                <a:ext uri="{FF2B5EF4-FFF2-40B4-BE49-F238E27FC236}">
                  <a16:creationId xmlns:a16="http://schemas.microsoft.com/office/drawing/2014/main" id="{83FB444D-7EEF-43B5-A481-D5CD55A08D44}"/>
                </a:ext>
              </a:extLst>
            </p:cNvPr>
            <p:cNvSpPr/>
            <p:nvPr/>
          </p:nvSpPr>
          <p:spPr>
            <a:xfrm>
              <a:off x="8738323" y="119476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grpSp>
      <p:sp>
        <p:nvSpPr>
          <p:cNvPr id="390" name="Rectangle 389">
            <a:extLst>
              <a:ext uri="{FF2B5EF4-FFF2-40B4-BE49-F238E27FC236}">
                <a16:creationId xmlns:a16="http://schemas.microsoft.com/office/drawing/2014/main" id="{8A12DDFA-97E8-4CBE-9F1F-41869D64A0D2}"/>
              </a:ext>
            </a:extLst>
          </p:cNvPr>
          <p:cNvSpPr/>
          <p:nvPr/>
        </p:nvSpPr>
        <p:spPr bwMode="auto">
          <a:xfrm>
            <a:off x="422163" y="4792608"/>
            <a:ext cx="1636721" cy="1487977"/>
          </a:xfrm>
          <a:prstGeom prst="rect">
            <a:avLst/>
          </a:prstGeom>
          <a:solidFill>
            <a:srgbClr val="F2F2F2"/>
          </a:solidFill>
          <a:ln w="127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391" name="Rectangle 390">
            <a:extLst>
              <a:ext uri="{FF2B5EF4-FFF2-40B4-BE49-F238E27FC236}">
                <a16:creationId xmlns:a16="http://schemas.microsoft.com/office/drawing/2014/main" id="{3D60134E-BE0C-4936-9E02-7DC738CCC434}"/>
              </a:ext>
            </a:extLst>
          </p:cNvPr>
          <p:cNvSpPr/>
          <p:nvPr/>
        </p:nvSpPr>
        <p:spPr bwMode="auto">
          <a:xfrm>
            <a:off x="2896982" y="4792037"/>
            <a:ext cx="1638783" cy="1487977"/>
          </a:xfrm>
          <a:prstGeom prst="rect">
            <a:avLst/>
          </a:prstGeom>
          <a:solidFill>
            <a:srgbClr val="F2F2F2"/>
          </a:solidFill>
          <a:ln w="127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392" name="Rectangle 391">
            <a:extLst>
              <a:ext uri="{FF2B5EF4-FFF2-40B4-BE49-F238E27FC236}">
                <a16:creationId xmlns:a16="http://schemas.microsoft.com/office/drawing/2014/main" id="{5E7BBB40-0E7F-4FF6-80DE-F0D9B8080E90}"/>
              </a:ext>
            </a:extLst>
          </p:cNvPr>
          <p:cNvSpPr/>
          <p:nvPr/>
        </p:nvSpPr>
        <p:spPr bwMode="auto">
          <a:xfrm>
            <a:off x="5371801" y="4791886"/>
            <a:ext cx="1638783" cy="1487977"/>
          </a:xfrm>
          <a:prstGeom prst="rect">
            <a:avLst/>
          </a:prstGeom>
          <a:solidFill>
            <a:srgbClr val="F2F2F2"/>
          </a:solidFill>
          <a:ln w="127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393" name="Rectangle 392">
            <a:extLst>
              <a:ext uri="{FF2B5EF4-FFF2-40B4-BE49-F238E27FC236}">
                <a16:creationId xmlns:a16="http://schemas.microsoft.com/office/drawing/2014/main" id="{BF00CCF8-1B1F-40C2-AA88-F1AC447406CB}"/>
              </a:ext>
            </a:extLst>
          </p:cNvPr>
          <p:cNvSpPr/>
          <p:nvPr/>
        </p:nvSpPr>
        <p:spPr bwMode="auto">
          <a:xfrm>
            <a:off x="7846619" y="4792360"/>
            <a:ext cx="1638783" cy="1487977"/>
          </a:xfrm>
          <a:prstGeom prst="rect">
            <a:avLst/>
          </a:prstGeom>
          <a:solidFill>
            <a:srgbClr val="F2F2F2"/>
          </a:solidFill>
          <a:ln w="12700">
            <a:solidFill>
              <a:srgbClr val="003F62"/>
            </a:solidFill>
            <a:round/>
            <a:headEnd/>
            <a:tailEnd/>
          </a:ln>
        </p:spPr>
        <p:txBody>
          <a:bodyPr wrap="square" lIns="0" tIns="0" rIns="0" bIns="0" rtlCol="0" anchor="ctr">
            <a:noAutofit/>
          </a:bodyPr>
          <a:lstStyle/>
          <a:p>
            <a:pPr algn="l"/>
            <a:endParaRPr lang="en-IN" dirty="0">
              <a:solidFill>
                <a:schemeClr val="tx2"/>
              </a:solidFill>
            </a:endParaRPr>
          </a:p>
        </p:txBody>
      </p:sp>
      <p:sp>
        <p:nvSpPr>
          <p:cNvPr id="389" name="TextBox 388">
            <a:extLst>
              <a:ext uri="{FF2B5EF4-FFF2-40B4-BE49-F238E27FC236}">
                <a16:creationId xmlns:a16="http://schemas.microsoft.com/office/drawing/2014/main" id="{8DC473EA-9C89-419F-9678-E892CEF8E204}"/>
              </a:ext>
            </a:extLst>
          </p:cNvPr>
          <p:cNvSpPr txBox="1"/>
          <p:nvPr/>
        </p:nvSpPr>
        <p:spPr>
          <a:xfrm>
            <a:off x="327111" y="4680320"/>
            <a:ext cx="1802674" cy="1506849"/>
          </a:xfrm>
          <a:prstGeom prst="rect">
            <a:avLst/>
          </a:prstGeom>
          <a:noFill/>
        </p:spPr>
        <p:txBody>
          <a:bodyPr wrap="square" lIns="182880" tIns="182880" rIns="182880" bIns="182880" rtlCol="0">
            <a:noAutofit/>
          </a:bodyPr>
          <a:lstStyle/>
          <a:p>
            <a:pPr lvl="0" algn="l">
              <a:defRPr/>
            </a:pPr>
            <a:r>
              <a:rPr lang="en-US" sz="1400" kern="0" dirty="0">
                <a:solidFill>
                  <a:srgbClr val="003F62"/>
                </a:solidFill>
                <a:latin typeface="+mn-lt"/>
              </a:rPr>
              <a:t>About 80% of businesses with employees will survive their first year in business.</a:t>
            </a:r>
          </a:p>
        </p:txBody>
      </p:sp>
      <p:sp>
        <p:nvSpPr>
          <p:cNvPr id="101" name="TextBox 100">
            <a:extLst>
              <a:ext uri="{FF2B5EF4-FFF2-40B4-BE49-F238E27FC236}">
                <a16:creationId xmlns:a16="http://schemas.microsoft.com/office/drawing/2014/main" id="{F11F92BD-907D-4CA3-A324-50EE7D11488B}"/>
              </a:ext>
            </a:extLst>
          </p:cNvPr>
          <p:cNvSpPr txBox="1"/>
          <p:nvPr/>
        </p:nvSpPr>
        <p:spPr>
          <a:xfrm>
            <a:off x="2836639" y="4690334"/>
            <a:ext cx="1984688" cy="1592606"/>
          </a:xfrm>
          <a:prstGeom prst="rect">
            <a:avLst/>
          </a:prstGeom>
          <a:noFill/>
        </p:spPr>
        <p:txBody>
          <a:bodyPr wrap="square" lIns="182880" tIns="182880" rIns="182880" bIns="182880" rtlCol="0">
            <a:noAutofit/>
          </a:bodyPr>
          <a:lstStyle/>
          <a:p>
            <a:pPr lvl="0" algn="l">
              <a:defRPr/>
            </a:pPr>
            <a:r>
              <a:rPr lang="en-US" sz="1400" kern="0" dirty="0">
                <a:solidFill>
                  <a:srgbClr val="003F62"/>
                </a:solidFill>
                <a:latin typeface="+mn-lt"/>
              </a:rPr>
              <a:t>About 70% of businesses with employees will survive their second year in business.</a:t>
            </a:r>
          </a:p>
        </p:txBody>
      </p:sp>
      <p:sp>
        <p:nvSpPr>
          <p:cNvPr id="102" name="TextBox 101">
            <a:extLst>
              <a:ext uri="{FF2B5EF4-FFF2-40B4-BE49-F238E27FC236}">
                <a16:creationId xmlns:a16="http://schemas.microsoft.com/office/drawing/2014/main" id="{B252510B-0970-4574-861B-E931F5C38786}"/>
              </a:ext>
            </a:extLst>
          </p:cNvPr>
          <p:cNvSpPr txBox="1"/>
          <p:nvPr/>
        </p:nvSpPr>
        <p:spPr>
          <a:xfrm>
            <a:off x="5298356" y="4684455"/>
            <a:ext cx="1810197" cy="1595408"/>
          </a:xfrm>
          <a:prstGeom prst="rect">
            <a:avLst/>
          </a:prstGeom>
          <a:noFill/>
        </p:spPr>
        <p:txBody>
          <a:bodyPr wrap="square" lIns="182880" tIns="182880" rIns="182880" bIns="182880" rtlCol="0">
            <a:noAutofit/>
          </a:bodyPr>
          <a:lstStyle/>
          <a:p>
            <a:pPr lvl="0" algn="l">
              <a:defRPr/>
            </a:pPr>
            <a:r>
              <a:rPr lang="en-US" sz="1400" kern="0" dirty="0">
                <a:solidFill>
                  <a:srgbClr val="003F62"/>
                </a:solidFill>
                <a:latin typeface="+mn-lt"/>
              </a:rPr>
              <a:t>About 50% of businesses with employees will survive their fifth year in business.</a:t>
            </a:r>
          </a:p>
        </p:txBody>
      </p:sp>
      <p:sp>
        <p:nvSpPr>
          <p:cNvPr id="100" name="TextBox 99">
            <a:extLst>
              <a:ext uri="{FF2B5EF4-FFF2-40B4-BE49-F238E27FC236}">
                <a16:creationId xmlns:a16="http://schemas.microsoft.com/office/drawing/2014/main" id="{D5DFB2F1-A712-463D-9F5E-370601FFCEAA}"/>
              </a:ext>
            </a:extLst>
          </p:cNvPr>
          <p:cNvSpPr txBox="1"/>
          <p:nvPr/>
        </p:nvSpPr>
        <p:spPr>
          <a:xfrm>
            <a:off x="7790380" y="4683109"/>
            <a:ext cx="1729269" cy="1615561"/>
          </a:xfrm>
          <a:prstGeom prst="rect">
            <a:avLst/>
          </a:prstGeom>
          <a:noFill/>
        </p:spPr>
        <p:txBody>
          <a:bodyPr wrap="square" lIns="182880" tIns="182880" rIns="182880" bIns="182880" rtlCol="0">
            <a:noAutofit/>
          </a:bodyPr>
          <a:lstStyle/>
          <a:p>
            <a:pPr lvl="0" algn="l">
              <a:defRPr/>
            </a:pPr>
            <a:r>
              <a:rPr lang="en-US" sz="1400" kern="0" dirty="0">
                <a:solidFill>
                  <a:srgbClr val="003F62"/>
                </a:solidFill>
                <a:latin typeface="+mn-lt"/>
              </a:rPr>
              <a:t>About 10% of businesses will survive their 10th year in business.</a:t>
            </a:r>
          </a:p>
        </p:txBody>
      </p:sp>
    </p:spTree>
    <p:extLst>
      <p:ext uri="{BB962C8B-B14F-4D97-AF65-F5344CB8AC3E}">
        <p14:creationId xmlns:p14="http://schemas.microsoft.com/office/powerpoint/2010/main" val="8052253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Yb4KbzKR0u0m7y4YTfCow"/>
</p:tagLst>
</file>

<file path=ppt/theme/theme1.xml><?xml version="1.0" encoding="utf-8"?>
<a:theme xmlns:a="http://schemas.openxmlformats.org/drawingml/2006/main" name="2010_Basis presentation UK">
  <a:themeElements>
    <a:clrScheme name="Nordic Consulting">
      <a:dk1>
        <a:srgbClr val="003F62"/>
      </a:dk1>
      <a:lt1>
        <a:srgbClr val="FFFFFF"/>
      </a:lt1>
      <a:dk2>
        <a:srgbClr val="FFFFFF"/>
      </a:dk2>
      <a:lt2>
        <a:srgbClr val="0079AE"/>
      </a:lt2>
      <a:accent1>
        <a:srgbClr val="003F62"/>
      </a:accent1>
      <a:accent2>
        <a:srgbClr val="07AADB"/>
      </a:accent2>
      <a:accent3>
        <a:srgbClr val="E614D7"/>
      </a:accent3>
      <a:accent4>
        <a:srgbClr val="C2B5BF"/>
      </a:accent4>
      <a:accent5>
        <a:srgbClr val="303030"/>
      </a:accent5>
      <a:accent6>
        <a:srgbClr val="E7E7EC"/>
      </a:accent6>
      <a:hlink>
        <a:srgbClr val="8C8C8C"/>
      </a:hlink>
      <a:folHlink>
        <a:srgbClr val="000000"/>
      </a:folHlink>
    </a:clrScheme>
    <a:fontScheme name="Nordic Consulting">
      <a:majorFont>
        <a:latin typeface="Poppins Black"/>
        <a:ea typeface=""/>
        <a:cs typeface=""/>
      </a:majorFont>
      <a:minorFont>
        <a:latin typeface="Poppins Medium"/>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509AAF"/>
        </a:solidFill>
        <a:ln w="12700">
          <a:noFill/>
          <a:round/>
          <a:headEnd/>
          <a:tailEnd/>
        </a:ln>
      </a:spPr>
      <a:bodyPr wrap="square" lIns="0" tIns="0" rIns="0" bIns="0" rtlCol="0" anchor="ctr">
        <a:noAutofit/>
      </a:bodyPr>
      <a:lstStyle>
        <a:defPPr algn="l">
          <a:defRPr dirty="0">
            <a:solidFill>
              <a:schemeClr val="tx2"/>
            </a:solidFill>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M template new colors.pptx" id="{DBF6032C-74CD-4EB8-87D3-6A8A5ADA2D0A}" vid="{6B40890E-3518-4B1D-83AF-0511E7675902}"/>
    </a:ext>
  </a:extLst>
</a:theme>
</file>

<file path=ppt/theme/theme2.xml><?xml version="1.0" encoding="utf-8"?>
<a:theme xmlns:a="http://schemas.openxmlformats.org/drawingml/2006/main" name="Kontortema">
  <a:themeElements>
    <a:clrScheme name="">
      <a:dk1>
        <a:srgbClr val="000066"/>
      </a:dk1>
      <a:lt1>
        <a:srgbClr val="FFFFFF"/>
      </a:lt1>
      <a:dk2>
        <a:srgbClr val="000066"/>
      </a:dk2>
      <a:lt2>
        <a:srgbClr val="000000"/>
      </a:lt2>
      <a:accent1>
        <a:srgbClr val="FFFFFF"/>
      </a:accent1>
      <a:accent2>
        <a:srgbClr val="CDCDCD"/>
      </a:accent2>
      <a:accent3>
        <a:srgbClr val="FFFFFF"/>
      </a:accent3>
      <a:accent4>
        <a:srgbClr val="000056"/>
      </a:accent4>
      <a:accent5>
        <a:srgbClr val="FFFFFF"/>
      </a:accent5>
      <a:accent6>
        <a:srgbClr val="BABABA"/>
      </a:accent6>
      <a:hlink>
        <a:srgbClr val="777777"/>
      </a:hlink>
      <a:folHlink>
        <a:srgbClr val="000066"/>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B9ED4FCBFFE2141BEF8D275EC8A6B1F" ma:contentTypeVersion="10" ma:contentTypeDescription="Create a new document." ma:contentTypeScope="" ma:versionID="101d727554ea68a1f860d78d9b6d0120">
  <xsd:schema xmlns:xsd="http://www.w3.org/2001/XMLSchema" xmlns:xs="http://www.w3.org/2001/XMLSchema" xmlns:p="http://schemas.microsoft.com/office/2006/metadata/properties" xmlns:ns2="76bd1358-98cb-4bc6-9b1c-3f3d760f5768" xmlns:ns3="7da3498b-f732-4cff-b8b6-6fbc0cd175e9" targetNamespace="http://schemas.microsoft.com/office/2006/metadata/properties" ma:root="true" ma:fieldsID="e7cae75dc3f9ee10ea3848f6ca6771a9" ns2:_="" ns3:_="">
    <xsd:import namespace="76bd1358-98cb-4bc6-9b1c-3f3d760f5768"/>
    <xsd:import namespace="7da3498b-f732-4cff-b8b6-6fbc0cd175e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bd1358-98cb-4bc6-9b1c-3f3d760f57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a3498b-f732-4cff-b8b6-6fbc0cd175e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84949EB-D460-447E-BD5D-94A2AD359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bd1358-98cb-4bc6-9b1c-3f3d760f5768"/>
    <ds:schemaRef ds:uri="7da3498b-f732-4cff-b8b6-6fbc0cd175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E5A6E97-AAA1-4285-AB20-2CE2C74C0697}">
  <ds:schemaRefs>
    <ds:schemaRef ds:uri="http://schemas.microsoft.com/sharepoint/v3/contenttype/forms"/>
  </ds:schemaRefs>
</ds:datastoreItem>
</file>

<file path=customXml/itemProps3.xml><?xml version="1.0" encoding="utf-8"?>
<ds:datastoreItem xmlns:ds="http://schemas.openxmlformats.org/officeDocument/2006/customXml" ds:itemID="{4F7512EF-4A56-47BD-98DF-E5835B8FBFFE}">
  <ds:schemaRefs>
    <ds:schemaRef ds:uri="http://purl.org/dc/terms/"/>
    <ds:schemaRef ds:uri="http://schemas.openxmlformats.org/package/2006/metadata/core-properties"/>
    <ds:schemaRef ds:uri="7da3498b-f732-4cff-b8b6-6fbc0cd175e9"/>
    <ds:schemaRef ds:uri="http://schemas.microsoft.com/office/2006/documentManagement/types"/>
    <ds:schemaRef ds:uri="http://schemas.microsoft.com/office/infopath/2007/PartnerControls"/>
    <ds:schemaRef ds:uri="http://purl.org/dc/elements/1.1/"/>
    <ds:schemaRef ds:uri="http://schemas.microsoft.com/office/2006/metadata/properties"/>
    <ds:schemaRef ds:uri="76bd1358-98cb-4bc6-9b1c-3f3d760f576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M template new colors</Template>
  <TotalTime>25073</TotalTime>
  <Words>485</Words>
  <Application>Microsoft Office PowerPoint</Application>
  <PresentationFormat>A4 Paper (210x297 mm)</PresentationFormat>
  <Paragraphs>86</Paragraphs>
  <Slides>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Wingdings</vt:lpstr>
      <vt:lpstr>Poppins</vt:lpstr>
      <vt:lpstr>Poppins Black</vt:lpstr>
      <vt:lpstr>Calibri</vt:lpstr>
      <vt:lpstr>Arial</vt:lpstr>
      <vt:lpstr>Poppins Medium</vt:lpstr>
      <vt:lpstr>2010_Basis presentation UK</vt:lpstr>
      <vt:lpstr>think-cell Slide</vt:lpstr>
      <vt:lpstr>PowerPoint Presentation</vt:lpstr>
      <vt:lpstr>Top Business Problems and Their Solutions</vt:lpstr>
      <vt:lpstr>PowerPoint Presentation</vt:lpstr>
      <vt:lpstr>PowerPoint Presentation</vt:lpstr>
      <vt:lpstr>PowerPoint Presentation</vt:lpstr>
      <vt:lpstr>Most well known media</vt:lpstr>
      <vt:lpstr>What are the chances your business will survive?</vt:lpstr>
    </vt:vector>
  </TitlesOfParts>
  <Company>no-mo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ers Thomsen</dc:creator>
  <cp:lastModifiedBy>Himanshu singh</cp:lastModifiedBy>
  <cp:revision>973</cp:revision>
  <cp:lastPrinted>2016-08-13T15:57:21Z</cp:lastPrinted>
  <dcterms:created xsi:type="dcterms:W3CDTF">2016-08-13T12:33:55Z</dcterms:created>
  <dcterms:modified xsi:type="dcterms:W3CDTF">2021-10-28T20:4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106578</vt:lpwstr>
  </property>
  <property fmtid="{D5CDD505-2E9C-101B-9397-08002B2CF9AE}" pid="3" name="NXPowerLiteVersion">
    <vt:lpwstr>D4.1.1</vt:lpwstr>
  </property>
  <property fmtid="{D5CDD505-2E9C-101B-9397-08002B2CF9AE}" pid="4" name="ContentTypeId">
    <vt:lpwstr>0x010100AB9ED4FCBFFE2141BEF8D275EC8A6B1F</vt:lpwstr>
  </property>
</Properties>
</file>